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84" r:id="rId5"/>
    <p:sldMasterId id="2147484136" r:id="rId6"/>
    <p:sldMasterId id="2147484172" r:id="rId7"/>
  </p:sldMasterIdLst>
  <p:notesMasterIdLst>
    <p:notesMasterId r:id="rId12"/>
  </p:notesMasterIdLst>
  <p:handoutMasterIdLst>
    <p:handoutMasterId r:id="rId13"/>
  </p:handoutMasterIdLst>
  <p:sldIdLst>
    <p:sldId id="2147480756" r:id="rId8"/>
    <p:sldId id="2147479795" r:id="rId9"/>
    <p:sldId id="2147478834" r:id="rId10"/>
    <p:sldId id="2147480760" r:id="rId11"/>
  </p:sldIdLst>
  <p:sldSz cx="12192000" cy="6858000"/>
  <p:notesSz cx="6797675" cy="9926638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D3E27E"/>
    <a:srgbClr val="B3CC2D"/>
    <a:srgbClr val="595959"/>
    <a:srgbClr val="FFEECC"/>
    <a:srgbClr val="FFDB99"/>
    <a:srgbClr val="000000"/>
    <a:srgbClr val="FAA002"/>
    <a:srgbClr val="A1AD1C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81"/>
    <p:restoredTop sz="94612"/>
  </p:normalViewPr>
  <p:slideViewPr>
    <p:cSldViewPr snapToGrid="0">
      <p:cViewPr varScale="1">
        <p:scale>
          <a:sx n="110" d="100"/>
          <a:sy n="110" d="100"/>
        </p:scale>
        <p:origin x="1016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0.10.24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0.10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36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505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6E4475-F83E-DC0F-6BE6-23F9ABF96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83A86F1-0C69-55F0-C696-5F29684A61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27A0CB5-712E-42EE-C177-F95682171E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06105D-840E-A579-E892-1FE18E7430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0425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4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6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6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4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4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2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42.xml"/><Relationship Id="rId7" Type="http://schemas.openxmlformats.org/officeDocument/2006/relationships/image" Target="../media/image7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4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Relationship Id="rId4" Type="http://schemas.openxmlformats.org/officeDocument/2006/relationships/image" Target="../media/image2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4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6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rtnership">
            <a:extLst>
              <a:ext uri="{FF2B5EF4-FFF2-40B4-BE49-F238E27FC236}">
                <a16:creationId xmlns:a16="http://schemas.microsoft.com/office/drawing/2014/main" id="{23DEF64A-725C-4056-9682-AD87AC5208D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6" name="logoimage">
            <a:extLst>
              <a:ext uri="{FF2B5EF4-FFF2-40B4-BE49-F238E27FC236}">
                <a16:creationId xmlns:a16="http://schemas.microsoft.com/office/drawing/2014/main" id="{12787261-85EA-407B-A9D4-797FA08F74F4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257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0668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3598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24637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8234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43881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9033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044161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C64B07B1-8683-CCA3-B9E1-21D76EEE60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761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3DDBBA95-24E5-DFF8-AF34-A0FBD1264B8B}"/>
              </a:ext>
            </a:extLst>
          </p:cNvPr>
          <p:cNvSpPr>
            <a:spLocks/>
          </p:cNvSpPr>
          <p:nvPr userDrawn="1"/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9633 h 6453336"/>
              <a:gd name="connsiteX1" fmla="*/ 5915980 w 5915980"/>
              <a:gd name="connsiteY1" fmla="*/ 6018809 h 6453336"/>
              <a:gd name="connsiteX2" fmla="*/ 5889506 w 5915980"/>
              <a:gd name="connsiteY2" fmla="*/ 6037238 h 6453336"/>
              <a:gd name="connsiteX3" fmla="*/ 5503762 w 5915980"/>
              <a:gd name="connsiteY3" fmla="*/ 6305761 h 6453336"/>
              <a:gd name="connsiteX4" fmla="*/ 5503762 w 5915980"/>
              <a:gd name="connsiteY4" fmla="*/ 6401389 h 6453336"/>
              <a:gd name="connsiteX5" fmla="*/ 5503762 w 5915980"/>
              <a:gd name="connsiteY5" fmla="*/ 6453336 h 6453336"/>
              <a:gd name="connsiteX6" fmla="*/ 4366980 w 5915980"/>
              <a:gd name="connsiteY6" fmla="*/ 6453336 h 6453336"/>
              <a:gd name="connsiteX7" fmla="*/ 4366980 w 5915980"/>
              <a:gd name="connsiteY7" fmla="*/ 6390134 h 6453336"/>
              <a:gd name="connsiteX8" fmla="*/ 4366980 w 5915980"/>
              <a:gd name="connsiteY8" fmla="*/ 6003537 h 6453336"/>
              <a:gd name="connsiteX9" fmla="*/ 4608093 w 5915980"/>
              <a:gd name="connsiteY9" fmla="*/ 5540040 h 6453336"/>
              <a:gd name="connsiteX10" fmla="*/ 4707655 w 5915980"/>
              <a:gd name="connsiteY10" fmla="*/ 5471654 h 6453336"/>
              <a:gd name="connsiteX11" fmla="*/ 5576914 w 5915980"/>
              <a:gd name="connsiteY11" fmla="*/ 4871577 h 6453336"/>
              <a:gd name="connsiteX12" fmla="*/ 5865166 w 5915980"/>
              <a:gd name="connsiteY12" fmla="*/ 4583439 h 6453336"/>
              <a:gd name="connsiteX13" fmla="*/ 5507372 w 5915980"/>
              <a:gd name="connsiteY13" fmla="*/ 1160746 h 6453336"/>
              <a:gd name="connsiteX14" fmla="*/ 5849367 w 5915980"/>
              <a:gd name="connsiteY14" fmla="*/ 1196089 h 6453336"/>
              <a:gd name="connsiteX15" fmla="*/ 5915980 w 5915980"/>
              <a:gd name="connsiteY15" fmla="*/ 1213384 h 6453336"/>
              <a:gd name="connsiteX16" fmla="*/ 5915980 w 5915980"/>
              <a:gd name="connsiteY16" fmla="*/ 2482794 h 6453336"/>
              <a:gd name="connsiteX17" fmla="*/ 5890938 w 5915980"/>
              <a:gd name="connsiteY17" fmla="*/ 2453316 h 6453336"/>
              <a:gd name="connsiteX18" fmla="*/ 5179430 w 5915980"/>
              <a:gd name="connsiteY18" fmla="*/ 2396994 h 6453336"/>
              <a:gd name="connsiteX19" fmla="*/ 1909305 w 5915980"/>
              <a:gd name="connsiteY19" fmla="*/ 4659583 h 6453336"/>
              <a:gd name="connsiteX20" fmla="*/ 1830454 w 5915980"/>
              <a:gd name="connsiteY20" fmla="*/ 4682759 h 6453336"/>
              <a:gd name="connsiteX21" fmla="*/ 1695931 w 5915980"/>
              <a:gd name="connsiteY21" fmla="*/ 4543709 h 6453336"/>
              <a:gd name="connsiteX22" fmla="*/ 1695931 w 5915980"/>
              <a:gd name="connsiteY22" fmla="*/ 3720051 h 6453336"/>
              <a:gd name="connsiteX23" fmla="*/ 1938185 w 5915980"/>
              <a:gd name="connsiteY23" fmla="*/ 3256553 h 6453336"/>
              <a:gd name="connsiteX24" fmla="*/ 4533992 w 5915980"/>
              <a:gd name="connsiteY24" fmla="*/ 1465438 h 6453336"/>
              <a:gd name="connsiteX25" fmla="*/ 5507372 w 5915980"/>
              <a:gd name="connsiteY25" fmla="*/ 1160746 h 6453336"/>
              <a:gd name="connsiteX26" fmla="*/ 2704404 w 5915980"/>
              <a:gd name="connsiteY26" fmla="*/ 0 h 6453336"/>
              <a:gd name="connsiteX27" fmla="*/ 2835302 w 5915980"/>
              <a:gd name="connsiteY27" fmla="*/ 140205 h 6453336"/>
              <a:gd name="connsiteX28" fmla="*/ 2835302 w 5915980"/>
              <a:gd name="connsiteY28" fmla="*/ 1649979 h 6453336"/>
              <a:gd name="connsiteX29" fmla="*/ 2594214 w 5915980"/>
              <a:gd name="connsiteY29" fmla="*/ 2113530 h 6453336"/>
              <a:gd name="connsiteX30" fmla="*/ 1622074 w 5915980"/>
              <a:gd name="connsiteY30" fmla="*/ 2785490 h 6453336"/>
              <a:gd name="connsiteX31" fmla="*/ 1131919 w 5915980"/>
              <a:gd name="connsiteY31" fmla="*/ 3712403 h 6453336"/>
              <a:gd name="connsiteX32" fmla="*/ 1131919 w 5915980"/>
              <a:gd name="connsiteY32" fmla="*/ 4802700 h 6453336"/>
              <a:gd name="connsiteX33" fmla="*/ 1231660 w 5915980"/>
              <a:gd name="connsiteY33" fmla="*/ 5122437 h 6453336"/>
              <a:gd name="connsiteX34" fmla="*/ 2017238 w 5915980"/>
              <a:gd name="connsiteY34" fmla="*/ 5266251 h 6453336"/>
              <a:gd name="connsiteX35" fmla="*/ 5287026 w 5915980"/>
              <a:gd name="connsiteY35" fmla="*/ 3004537 h 6453336"/>
              <a:gd name="connsiteX36" fmla="*/ 5367009 w 5915980"/>
              <a:gd name="connsiteY36" fmla="*/ 2981360 h 6453336"/>
              <a:gd name="connsiteX37" fmla="*/ 5499048 w 5915980"/>
              <a:gd name="connsiteY37" fmla="*/ 3120424 h 6453336"/>
              <a:gd name="connsiteX38" fmla="*/ 5499048 w 5915980"/>
              <a:gd name="connsiteY38" fmla="*/ 3944180 h 6453336"/>
              <a:gd name="connsiteX39" fmla="*/ 5257960 w 5915980"/>
              <a:gd name="connsiteY39" fmla="*/ 4407541 h 6453336"/>
              <a:gd name="connsiteX40" fmla="*/ 2664887 w 5915980"/>
              <a:gd name="connsiteY40" fmla="*/ 6197724 h 6453336"/>
              <a:gd name="connsiteX41" fmla="*/ 2203040 w 5915980"/>
              <a:gd name="connsiteY41" fmla="*/ 6422827 h 6453336"/>
              <a:gd name="connsiteX42" fmla="*/ 2090428 w 5915980"/>
              <a:gd name="connsiteY42" fmla="*/ 6453336 h 6453336"/>
              <a:gd name="connsiteX43" fmla="*/ 1306922 w 5915980"/>
              <a:gd name="connsiteY43" fmla="*/ 6453336 h 6453336"/>
              <a:gd name="connsiteX44" fmla="*/ 1190422 w 5915980"/>
              <a:gd name="connsiteY44" fmla="*/ 6423213 h 6453336"/>
              <a:gd name="connsiteX45" fmla="*/ 2 w 5915980"/>
              <a:gd name="connsiteY45" fmla="*/ 4800420 h 6453336"/>
              <a:gd name="connsiteX46" fmla="*/ 2 w 5915980"/>
              <a:gd name="connsiteY46" fmla="*/ 3579227 h 6453336"/>
              <a:gd name="connsiteX47" fmla="*/ 865563 w 5915980"/>
              <a:gd name="connsiteY47" fmla="*/ 1938559 h 6453336"/>
              <a:gd name="connsiteX48" fmla="*/ 1699777 w 5915980"/>
              <a:gd name="connsiteY48" fmla="*/ 1359118 h 6453336"/>
              <a:gd name="connsiteX49" fmla="*/ 1699777 w 5915980"/>
              <a:gd name="connsiteY49" fmla="*/ 963010 h 6453336"/>
              <a:gd name="connsiteX50" fmla="*/ 1940674 w 5915980"/>
              <a:gd name="connsiteY50" fmla="*/ 499458 h 6453336"/>
              <a:gd name="connsiteX51" fmla="*/ 2621952 w 5915980"/>
              <a:gd name="connsiteY51" fmla="*/ 24318 h 6453336"/>
              <a:gd name="connsiteX52" fmla="*/ 2704404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9633"/>
                </a:moveTo>
                <a:lnTo>
                  <a:pt x="5915980" y="6018809"/>
                </a:lnTo>
                <a:lnTo>
                  <a:pt x="5889506" y="6037238"/>
                </a:lnTo>
                <a:cubicBezTo>
                  <a:pt x="5786519" y="6108929"/>
                  <a:pt x="5659766" y="6197164"/>
                  <a:pt x="5503762" y="6305761"/>
                </a:cubicBezTo>
                <a:cubicBezTo>
                  <a:pt x="5503762" y="6305761"/>
                  <a:pt x="5503762" y="6305761"/>
                  <a:pt x="5503762" y="6401389"/>
                </a:cubicBezTo>
                <a:lnTo>
                  <a:pt x="5503762" y="6453336"/>
                </a:lnTo>
                <a:lnTo>
                  <a:pt x="4366980" y="6453336"/>
                </a:lnTo>
                <a:lnTo>
                  <a:pt x="4366980" y="6390134"/>
                </a:lnTo>
                <a:cubicBezTo>
                  <a:pt x="4366980" y="6273726"/>
                  <a:pt x="4366980" y="6145276"/>
                  <a:pt x="4366980" y="6003537"/>
                </a:cubicBezTo>
                <a:cubicBezTo>
                  <a:pt x="4365841" y="5818137"/>
                  <a:pt x="4456282" y="5645466"/>
                  <a:pt x="4608093" y="5540040"/>
                </a:cubicBezTo>
                <a:cubicBezTo>
                  <a:pt x="4608093" y="5540040"/>
                  <a:pt x="4608093" y="5540040"/>
                  <a:pt x="4707655" y="5471654"/>
                </a:cubicBezTo>
                <a:cubicBezTo>
                  <a:pt x="4707655" y="5471654"/>
                  <a:pt x="4707655" y="5471654"/>
                  <a:pt x="5576914" y="4871577"/>
                </a:cubicBezTo>
                <a:cubicBezTo>
                  <a:pt x="5691201" y="4792506"/>
                  <a:pt x="5788360" y="4694551"/>
                  <a:pt x="5865166" y="4583439"/>
                </a:cubicBezTo>
                <a:close/>
                <a:moveTo>
                  <a:pt x="5507372" y="1160746"/>
                </a:moveTo>
                <a:cubicBezTo>
                  <a:pt x="5624556" y="1161054"/>
                  <a:pt x="5738932" y="1173215"/>
                  <a:pt x="5849367" y="1196089"/>
                </a:cubicBezTo>
                <a:lnTo>
                  <a:pt x="5915980" y="1213384"/>
                </a:lnTo>
                <a:lnTo>
                  <a:pt x="5915980" y="2482794"/>
                </a:lnTo>
                <a:lnTo>
                  <a:pt x="5890938" y="2453316"/>
                </a:lnTo>
                <a:cubicBezTo>
                  <a:pt x="5701253" y="2271253"/>
                  <a:pt x="5403537" y="2241917"/>
                  <a:pt x="5179430" y="2396994"/>
                </a:cubicBezTo>
                <a:cubicBezTo>
                  <a:pt x="5179430" y="2396994"/>
                  <a:pt x="5179430" y="2396994"/>
                  <a:pt x="1909305" y="4659583"/>
                </a:cubicBezTo>
                <a:cubicBezTo>
                  <a:pt x="1886124" y="4674591"/>
                  <a:pt x="1858194" y="4682759"/>
                  <a:pt x="1830454" y="4682759"/>
                </a:cubicBezTo>
                <a:cubicBezTo>
                  <a:pt x="1755213" y="4681619"/>
                  <a:pt x="1694792" y="4618933"/>
                  <a:pt x="1695931" y="4543709"/>
                </a:cubicBezTo>
                <a:cubicBezTo>
                  <a:pt x="1695931" y="4543709"/>
                  <a:pt x="1695931" y="4543709"/>
                  <a:pt x="1695931" y="3720051"/>
                </a:cubicBezTo>
                <a:cubicBezTo>
                  <a:pt x="1694792" y="3534652"/>
                  <a:pt x="1785233" y="3361980"/>
                  <a:pt x="1938185" y="3256553"/>
                </a:cubicBezTo>
                <a:cubicBezTo>
                  <a:pt x="1938185" y="3256553"/>
                  <a:pt x="1938185" y="3256553"/>
                  <a:pt x="4533992" y="1465438"/>
                </a:cubicBezTo>
                <a:cubicBezTo>
                  <a:pt x="4820136" y="1266173"/>
                  <a:pt x="5159669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8" y="2471"/>
                  <a:pt x="2837582" y="64973"/>
                  <a:pt x="2835302" y="140205"/>
                </a:cubicBezTo>
                <a:cubicBezTo>
                  <a:pt x="2835302" y="140205"/>
                  <a:pt x="2835302" y="140205"/>
                  <a:pt x="2835302" y="1649979"/>
                </a:cubicBezTo>
                <a:cubicBezTo>
                  <a:pt x="2836442" y="1835399"/>
                  <a:pt x="2747150" y="2009232"/>
                  <a:pt x="2594214" y="2113530"/>
                </a:cubicBezTo>
                <a:cubicBezTo>
                  <a:pt x="2594214" y="2113530"/>
                  <a:pt x="2594214" y="2113530"/>
                  <a:pt x="1622074" y="2785490"/>
                </a:cubicBezTo>
                <a:cubicBezTo>
                  <a:pt x="1316202" y="2995228"/>
                  <a:pt x="1133058" y="3341753"/>
                  <a:pt x="1131919" y="3712403"/>
                </a:cubicBezTo>
                <a:cubicBezTo>
                  <a:pt x="1131919" y="3712403"/>
                  <a:pt x="1131919" y="3712403"/>
                  <a:pt x="1131919" y="4802700"/>
                </a:cubicBezTo>
                <a:cubicBezTo>
                  <a:pt x="1131919" y="4916308"/>
                  <a:pt x="1166686" y="5028586"/>
                  <a:pt x="1231660" y="5122437"/>
                </a:cubicBezTo>
                <a:cubicBezTo>
                  <a:pt x="1408913" y="5379670"/>
                  <a:pt x="1761141" y="5443503"/>
                  <a:pt x="2017238" y="5266251"/>
                </a:cubicBezTo>
                <a:cubicBezTo>
                  <a:pt x="2017238" y="5266251"/>
                  <a:pt x="2017238" y="5266251"/>
                  <a:pt x="5287026" y="3004537"/>
                </a:cubicBezTo>
                <a:cubicBezTo>
                  <a:pt x="5310204" y="2988199"/>
                  <a:pt x="5337942" y="2981360"/>
                  <a:pt x="5367009" y="2981360"/>
                </a:cubicBezTo>
                <a:cubicBezTo>
                  <a:pt x="5442242" y="2983639"/>
                  <a:pt x="5501327" y="3045003"/>
                  <a:pt x="5499048" y="3120424"/>
                </a:cubicBezTo>
                <a:cubicBezTo>
                  <a:pt x="5499048" y="3120424"/>
                  <a:pt x="5499048" y="3120424"/>
                  <a:pt x="5499048" y="3944180"/>
                </a:cubicBezTo>
                <a:cubicBezTo>
                  <a:pt x="5500187" y="4128460"/>
                  <a:pt x="5409756" y="4302102"/>
                  <a:pt x="5257960" y="4407541"/>
                </a:cubicBezTo>
                <a:cubicBezTo>
                  <a:pt x="5257960" y="4407541"/>
                  <a:pt x="5257960" y="4407541"/>
                  <a:pt x="2664887" y="6197724"/>
                </a:cubicBezTo>
                <a:cubicBezTo>
                  <a:pt x="2522401" y="6296228"/>
                  <a:pt x="2366568" y="6371841"/>
                  <a:pt x="2203040" y="6422827"/>
                </a:cubicBezTo>
                <a:lnTo>
                  <a:pt x="2090428" y="6453336"/>
                </a:lnTo>
                <a:lnTo>
                  <a:pt x="1306922" y="6453336"/>
                </a:lnTo>
                <a:lnTo>
                  <a:pt x="1190422" y="6423213"/>
                </a:lnTo>
                <a:cubicBezTo>
                  <a:pt x="499824" y="6207373"/>
                  <a:pt x="-924" y="5562027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3" y="2923416"/>
                  <a:pt x="325633" y="2310539"/>
                  <a:pt x="865563" y="1938559"/>
                </a:cubicBezTo>
                <a:cubicBezTo>
                  <a:pt x="865563" y="1938559"/>
                  <a:pt x="865563" y="1938559"/>
                  <a:pt x="1699777" y="1359118"/>
                </a:cubicBezTo>
                <a:cubicBezTo>
                  <a:pt x="1699777" y="1359118"/>
                  <a:pt x="1699777" y="1359118"/>
                  <a:pt x="1699777" y="963010"/>
                </a:cubicBezTo>
                <a:cubicBezTo>
                  <a:pt x="1698636" y="778729"/>
                  <a:pt x="1788878" y="604898"/>
                  <a:pt x="1940674" y="499458"/>
                </a:cubicBezTo>
                <a:cubicBezTo>
                  <a:pt x="1940674" y="499458"/>
                  <a:pt x="1940674" y="499458"/>
                  <a:pt x="2621952" y="24318"/>
                </a:cubicBezTo>
                <a:cubicBezTo>
                  <a:pt x="2646459" y="7029"/>
                  <a:pt x="2675337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5420" y="4581128"/>
            <a:ext cx="3600000" cy="158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10440000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2668856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5420" y="4581128"/>
            <a:ext cx="3600000" cy="158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8A4C02F-DCB8-8559-4557-65A4F1F6D8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8631 h 6453336"/>
              <a:gd name="connsiteX1" fmla="*/ 5915980 w 5915980"/>
              <a:gd name="connsiteY1" fmla="*/ 6019246 h 6453336"/>
              <a:gd name="connsiteX2" fmla="*/ 5888334 w 5915980"/>
              <a:gd name="connsiteY2" fmla="*/ 6038498 h 6453336"/>
              <a:gd name="connsiteX3" fmla="*/ 5502668 w 5915980"/>
              <a:gd name="connsiteY3" fmla="*/ 6307077 h 6453336"/>
              <a:gd name="connsiteX4" fmla="*/ 5502668 w 5915980"/>
              <a:gd name="connsiteY4" fmla="*/ 6402725 h 6453336"/>
              <a:gd name="connsiteX5" fmla="*/ 5502668 w 5915980"/>
              <a:gd name="connsiteY5" fmla="*/ 6453336 h 6453336"/>
              <a:gd name="connsiteX6" fmla="*/ 4366112 w 5915980"/>
              <a:gd name="connsiteY6" fmla="*/ 6453336 h 6453336"/>
              <a:gd name="connsiteX7" fmla="*/ 4366112 w 5915980"/>
              <a:gd name="connsiteY7" fmla="*/ 6391468 h 6453336"/>
              <a:gd name="connsiteX8" fmla="*/ 4366112 w 5915980"/>
              <a:gd name="connsiteY8" fmla="*/ 6004791 h 6453336"/>
              <a:gd name="connsiteX9" fmla="*/ 4607176 w 5915980"/>
              <a:gd name="connsiteY9" fmla="*/ 5541196 h 6453336"/>
              <a:gd name="connsiteX10" fmla="*/ 4706718 w 5915980"/>
              <a:gd name="connsiteY10" fmla="*/ 5472796 h 6453336"/>
              <a:gd name="connsiteX11" fmla="*/ 5575804 w 5915980"/>
              <a:gd name="connsiteY11" fmla="*/ 4872594 h 6453336"/>
              <a:gd name="connsiteX12" fmla="*/ 5863999 w 5915980"/>
              <a:gd name="connsiteY12" fmla="*/ 4584395 h 6453336"/>
              <a:gd name="connsiteX13" fmla="*/ 5506277 w 5915980"/>
              <a:gd name="connsiteY13" fmla="*/ 1160988 h 6453336"/>
              <a:gd name="connsiteX14" fmla="*/ 5848204 w 5915980"/>
              <a:gd name="connsiteY14" fmla="*/ 1196339 h 6453336"/>
              <a:gd name="connsiteX15" fmla="*/ 5915980 w 5915980"/>
              <a:gd name="connsiteY15" fmla="*/ 1213943 h 6453336"/>
              <a:gd name="connsiteX16" fmla="*/ 5915980 w 5915980"/>
              <a:gd name="connsiteY16" fmla="*/ 2484699 h 6453336"/>
              <a:gd name="connsiteX17" fmla="*/ 5889766 w 5915980"/>
              <a:gd name="connsiteY17" fmla="*/ 2453828 h 6453336"/>
              <a:gd name="connsiteX18" fmla="*/ 5178399 w 5915980"/>
              <a:gd name="connsiteY18" fmla="*/ 2397494 h 6453336"/>
              <a:gd name="connsiteX19" fmla="*/ 1908925 w 5915980"/>
              <a:gd name="connsiteY19" fmla="*/ 4660556 h 6453336"/>
              <a:gd name="connsiteX20" fmla="*/ 1830089 w 5915980"/>
              <a:gd name="connsiteY20" fmla="*/ 4683736 h 6453336"/>
              <a:gd name="connsiteX21" fmla="*/ 1695594 w 5915980"/>
              <a:gd name="connsiteY21" fmla="*/ 4544657 h 6453336"/>
              <a:gd name="connsiteX22" fmla="*/ 1695594 w 5915980"/>
              <a:gd name="connsiteY22" fmla="*/ 3720827 h 6453336"/>
              <a:gd name="connsiteX23" fmla="*/ 1937799 w 5915980"/>
              <a:gd name="connsiteY23" fmla="*/ 3257233 h 6453336"/>
              <a:gd name="connsiteX24" fmla="*/ 4533090 w 5915980"/>
              <a:gd name="connsiteY24" fmla="*/ 1465744 h 6453336"/>
              <a:gd name="connsiteX25" fmla="*/ 5506277 w 5915980"/>
              <a:gd name="connsiteY25" fmla="*/ 1160988 h 6453336"/>
              <a:gd name="connsiteX26" fmla="*/ 2703866 w 5915980"/>
              <a:gd name="connsiteY26" fmla="*/ 0 h 6453336"/>
              <a:gd name="connsiteX27" fmla="*/ 2834738 w 5915980"/>
              <a:gd name="connsiteY27" fmla="*/ 140235 h 6453336"/>
              <a:gd name="connsiteX28" fmla="*/ 2834738 w 5915980"/>
              <a:gd name="connsiteY28" fmla="*/ 1650323 h 6453336"/>
              <a:gd name="connsiteX29" fmla="*/ 2593698 w 5915980"/>
              <a:gd name="connsiteY29" fmla="*/ 2113971 h 6453336"/>
              <a:gd name="connsiteX30" fmla="*/ 1621751 w 5915980"/>
              <a:gd name="connsiteY30" fmla="*/ 2786072 h 6453336"/>
              <a:gd name="connsiteX31" fmla="*/ 1131693 w 5915980"/>
              <a:gd name="connsiteY31" fmla="*/ 3713178 h 6453336"/>
              <a:gd name="connsiteX32" fmla="*/ 1131693 w 5915980"/>
              <a:gd name="connsiteY32" fmla="*/ 4803702 h 6453336"/>
              <a:gd name="connsiteX33" fmla="*/ 1231415 w 5915980"/>
              <a:gd name="connsiteY33" fmla="*/ 5123506 h 6453336"/>
              <a:gd name="connsiteX34" fmla="*/ 2016836 w 5915980"/>
              <a:gd name="connsiteY34" fmla="*/ 5267350 h 6453336"/>
              <a:gd name="connsiteX35" fmla="*/ 5285974 w 5915980"/>
              <a:gd name="connsiteY35" fmla="*/ 3005164 h 6453336"/>
              <a:gd name="connsiteX36" fmla="*/ 5365941 w 5915980"/>
              <a:gd name="connsiteY36" fmla="*/ 2981982 h 6453336"/>
              <a:gd name="connsiteX37" fmla="*/ 5497953 w 5915980"/>
              <a:gd name="connsiteY37" fmla="*/ 3121076 h 6453336"/>
              <a:gd name="connsiteX38" fmla="*/ 5497953 w 5915980"/>
              <a:gd name="connsiteY38" fmla="*/ 3945003 h 6453336"/>
              <a:gd name="connsiteX39" fmla="*/ 5256913 w 5915980"/>
              <a:gd name="connsiteY39" fmla="*/ 4408461 h 6453336"/>
              <a:gd name="connsiteX40" fmla="*/ 2664357 w 5915980"/>
              <a:gd name="connsiteY40" fmla="*/ 6199017 h 6453336"/>
              <a:gd name="connsiteX41" fmla="*/ 2202602 w 5915980"/>
              <a:gd name="connsiteY41" fmla="*/ 6424167 h 6453336"/>
              <a:gd name="connsiteX42" fmla="*/ 2094984 w 5915980"/>
              <a:gd name="connsiteY42" fmla="*/ 6453336 h 6453336"/>
              <a:gd name="connsiteX43" fmla="*/ 1301454 w 5915980"/>
              <a:gd name="connsiteY43" fmla="*/ 6453336 h 6453336"/>
              <a:gd name="connsiteX44" fmla="*/ 1190185 w 5915980"/>
              <a:gd name="connsiteY44" fmla="*/ 6424554 h 6453336"/>
              <a:gd name="connsiteX45" fmla="*/ 2 w 5915980"/>
              <a:gd name="connsiteY45" fmla="*/ 4801422 h 6453336"/>
              <a:gd name="connsiteX46" fmla="*/ 2 w 5915980"/>
              <a:gd name="connsiteY46" fmla="*/ 3579974 h 6453336"/>
              <a:gd name="connsiteX47" fmla="*/ 865391 w 5915980"/>
              <a:gd name="connsiteY47" fmla="*/ 1938963 h 6453336"/>
              <a:gd name="connsiteX48" fmla="*/ 1699439 w 5915980"/>
              <a:gd name="connsiteY48" fmla="*/ 1359402 h 6453336"/>
              <a:gd name="connsiteX49" fmla="*/ 1699439 w 5915980"/>
              <a:gd name="connsiteY49" fmla="*/ 963211 h 6453336"/>
              <a:gd name="connsiteX50" fmla="*/ 1940288 w 5915980"/>
              <a:gd name="connsiteY50" fmla="*/ 499563 h 6453336"/>
              <a:gd name="connsiteX51" fmla="*/ 2621430 w 5915980"/>
              <a:gd name="connsiteY51" fmla="*/ 24323 h 6453336"/>
              <a:gd name="connsiteX52" fmla="*/ 2703866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8631"/>
                </a:moveTo>
                <a:lnTo>
                  <a:pt x="5915980" y="6019246"/>
                </a:lnTo>
                <a:lnTo>
                  <a:pt x="5888334" y="6038498"/>
                </a:lnTo>
                <a:cubicBezTo>
                  <a:pt x="5785368" y="6110204"/>
                  <a:pt x="5658640" y="6198457"/>
                  <a:pt x="5502668" y="6307077"/>
                </a:cubicBezTo>
                <a:cubicBezTo>
                  <a:pt x="5502668" y="6307077"/>
                  <a:pt x="5502668" y="6307077"/>
                  <a:pt x="5502668" y="6402725"/>
                </a:cubicBezTo>
                <a:lnTo>
                  <a:pt x="5502668" y="6453336"/>
                </a:lnTo>
                <a:lnTo>
                  <a:pt x="4366112" y="6453336"/>
                </a:lnTo>
                <a:lnTo>
                  <a:pt x="4366112" y="6391468"/>
                </a:lnTo>
                <a:cubicBezTo>
                  <a:pt x="4366112" y="6275036"/>
                  <a:pt x="4366112" y="6146559"/>
                  <a:pt x="4366112" y="6004791"/>
                </a:cubicBezTo>
                <a:cubicBezTo>
                  <a:pt x="4364972" y="5819352"/>
                  <a:pt x="4455394" y="5646644"/>
                  <a:pt x="4607176" y="5541196"/>
                </a:cubicBezTo>
                <a:cubicBezTo>
                  <a:pt x="4607176" y="5541196"/>
                  <a:pt x="4607176" y="5541196"/>
                  <a:pt x="4706718" y="5472796"/>
                </a:cubicBezTo>
                <a:cubicBezTo>
                  <a:pt x="4706718" y="5472796"/>
                  <a:pt x="4706718" y="5472796"/>
                  <a:pt x="5575804" y="4872594"/>
                </a:cubicBezTo>
                <a:cubicBezTo>
                  <a:pt x="5690068" y="4793507"/>
                  <a:pt x="5787208" y="4695531"/>
                  <a:pt x="5863999" y="4584395"/>
                </a:cubicBezTo>
                <a:close/>
                <a:moveTo>
                  <a:pt x="5506277" y="1160988"/>
                </a:moveTo>
                <a:cubicBezTo>
                  <a:pt x="5623438" y="1161297"/>
                  <a:pt x="5737790" y="1173460"/>
                  <a:pt x="5848204" y="1196339"/>
                </a:cubicBezTo>
                <a:lnTo>
                  <a:pt x="5915980" y="1213943"/>
                </a:lnTo>
                <a:lnTo>
                  <a:pt x="5915980" y="2484699"/>
                </a:lnTo>
                <a:lnTo>
                  <a:pt x="5889766" y="2453828"/>
                </a:lnTo>
                <a:cubicBezTo>
                  <a:pt x="5700118" y="2271728"/>
                  <a:pt x="5402461" y="2242385"/>
                  <a:pt x="5178399" y="2397494"/>
                </a:cubicBezTo>
                <a:cubicBezTo>
                  <a:pt x="5178399" y="2397494"/>
                  <a:pt x="5178399" y="2397494"/>
                  <a:pt x="1908925" y="4660556"/>
                </a:cubicBezTo>
                <a:cubicBezTo>
                  <a:pt x="1885748" y="4675567"/>
                  <a:pt x="1857824" y="4683736"/>
                  <a:pt x="1830089" y="4683736"/>
                </a:cubicBezTo>
                <a:cubicBezTo>
                  <a:pt x="1754863" y="4682596"/>
                  <a:pt x="1694454" y="4619897"/>
                  <a:pt x="1695594" y="4544657"/>
                </a:cubicBezTo>
                <a:cubicBezTo>
                  <a:pt x="1695594" y="4544657"/>
                  <a:pt x="1695594" y="4544657"/>
                  <a:pt x="1695594" y="3720827"/>
                </a:cubicBezTo>
                <a:cubicBezTo>
                  <a:pt x="1694454" y="3535390"/>
                  <a:pt x="1784878" y="3362682"/>
                  <a:pt x="1937799" y="3257233"/>
                </a:cubicBezTo>
                <a:cubicBezTo>
                  <a:pt x="1937799" y="3257233"/>
                  <a:pt x="1937799" y="3257233"/>
                  <a:pt x="4533090" y="1465744"/>
                </a:cubicBezTo>
                <a:cubicBezTo>
                  <a:pt x="4819176" y="1266437"/>
                  <a:pt x="5158642" y="1160988"/>
                  <a:pt x="5506277" y="1160988"/>
                </a:cubicBezTo>
                <a:close/>
                <a:moveTo>
                  <a:pt x="2703866" y="0"/>
                </a:moveTo>
                <a:cubicBezTo>
                  <a:pt x="2779084" y="2471"/>
                  <a:pt x="2837017" y="64987"/>
                  <a:pt x="2834738" y="140235"/>
                </a:cubicBezTo>
                <a:cubicBezTo>
                  <a:pt x="2834738" y="140235"/>
                  <a:pt x="2834738" y="140235"/>
                  <a:pt x="2834738" y="1650323"/>
                </a:cubicBezTo>
                <a:cubicBezTo>
                  <a:pt x="2835877" y="1835782"/>
                  <a:pt x="2746603" y="2009651"/>
                  <a:pt x="2593698" y="2113971"/>
                </a:cubicBezTo>
                <a:cubicBezTo>
                  <a:pt x="2593698" y="2113971"/>
                  <a:pt x="2593698" y="2113971"/>
                  <a:pt x="1621751" y="2786072"/>
                </a:cubicBezTo>
                <a:cubicBezTo>
                  <a:pt x="1315940" y="2995853"/>
                  <a:pt x="1132833" y="3342450"/>
                  <a:pt x="1131693" y="3713178"/>
                </a:cubicBezTo>
                <a:cubicBezTo>
                  <a:pt x="1131693" y="3713178"/>
                  <a:pt x="1131693" y="3713178"/>
                  <a:pt x="1131693" y="4803702"/>
                </a:cubicBezTo>
                <a:cubicBezTo>
                  <a:pt x="1131693" y="4917334"/>
                  <a:pt x="1166454" y="5029635"/>
                  <a:pt x="1231415" y="5123506"/>
                </a:cubicBezTo>
                <a:cubicBezTo>
                  <a:pt x="1408633" y="5380793"/>
                  <a:pt x="1760791" y="5444639"/>
                  <a:pt x="2016836" y="5267350"/>
                </a:cubicBezTo>
                <a:cubicBezTo>
                  <a:pt x="2016836" y="5267350"/>
                  <a:pt x="2016836" y="5267350"/>
                  <a:pt x="5285974" y="3005164"/>
                </a:cubicBezTo>
                <a:cubicBezTo>
                  <a:pt x="5309148" y="2988822"/>
                  <a:pt x="5336880" y="2981982"/>
                  <a:pt x="5365941" y="2981982"/>
                </a:cubicBezTo>
                <a:cubicBezTo>
                  <a:pt x="5441159" y="2984262"/>
                  <a:pt x="5500232" y="3045638"/>
                  <a:pt x="5497953" y="3121076"/>
                </a:cubicBezTo>
                <a:cubicBezTo>
                  <a:pt x="5497953" y="3121076"/>
                  <a:pt x="5497953" y="3121076"/>
                  <a:pt x="5497953" y="3945003"/>
                </a:cubicBezTo>
                <a:cubicBezTo>
                  <a:pt x="5499092" y="4129322"/>
                  <a:pt x="5408679" y="4303000"/>
                  <a:pt x="5256913" y="4408461"/>
                </a:cubicBezTo>
                <a:cubicBezTo>
                  <a:pt x="5256913" y="4408461"/>
                  <a:pt x="5256913" y="4408461"/>
                  <a:pt x="2664357" y="6199017"/>
                </a:cubicBezTo>
                <a:cubicBezTo>
                  <a:pt x="2521899" y="6297543"/>
                  <a:pt x="2366097" y="6373171"/>
                  <a:pt x="2202602" y="6424167"/>
                </a:cubicBezTo>
                <a:lnTo>
                  <a:pt x="2094984" y="6453336"/>
                </a:lnTo>
                <a:lnTo>
                  <a:pt x="1301454" y="6453336"/>
                </a:lnTo>
                <a:lnTo>
                  <a:pt x="1190185" y="6424554"/>
                </a:lnTo>
                <a:cubicBezTo>
                  <a:pt x="499724" y="6208668"/>
                  <a:pt x="-924" y="5563188"/>
                  <a:pt x="2" y="4801422"/>
                </a:cubicBezTo>
                <a:cubicBezTo>
                  <a:pt x="2" y="4801422"/>
                  <a:pt x="2" y="4801422"/>
                  <a:pt x="2" y="3579974"/>
                </a:cubicBezTo>
                <a:cubicBezTo>
                  <a:pt x="2283" y="2924026"/>
                  <a:pt x="325569" y="2311022"/>
                  <a:pt x="865391" y="1938963"/>
                </a:cubicBezTo>
                <a:cubicBezTo>
                  <a:pt x="865391" y="1938963"/>
                  <a:pt x="865391" y="1938963"/>
                  <a:pt x="1699439" y="1359402"/>
                </a:cubicBezTo>
                <a:cubicBezTo>
                  <a:pt x="1699439" y="1359402"/>
                  <a:pt x="1699439" y="1359402"/>
                  <a:pt x="1699439" y="963211"/>
                </a:cubicBezTo>
                <a:cubicBezTo>
                  <a:pt x="1698298" y="778892"/>
                  <a:pt x="1788522" y="605024"/>
                  <a:pt x="1940288" y="499563"/>
                </a:cubicBezTo>
                <a:cubicBezTo>
                  <a:pt x="1940288" y="499563"/>
                  <a:pt x="1940288" y="499563"/>
                  <a:pt x="2621430" y="24323"/>
                </a:cubicBezTo>
                <a:cubicBezTo>
                  <a:pt x="2645933" y="7031"/>
                  <a:pt x="2674805" y="0"/>
                  <a:pt x="2703866" y="0"/>
                </a:cubicBezTo>
                <a:close/>
              </a:path>
            </a:pathLst>
          </a:custGeom>
          <a:solidFill>
            <a:srgbClr val="FCD2A4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5041193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228307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68120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139E19B-0666-AC66-F25A-4EBF277C9C1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-1" y="0"/>
            <a:ext cx="8075613" cy="6858000"/>
          </a:xfrm>
          <a:prstGeom prst="rect">
            <a:avLst/>
          </a:prstGeom>
          <a:solidFill>
            <a:srgbClr val="2E2D2C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8E62CFD-5359-B606-F1C1-63672C05D36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 bwMode="gray">
          <a:xfrm>
            <a:off x="5915980" y="3248980"/>
            <a:ext cx="4572000" cy="4860342"/>
          </a:xfrm>
          <a:custGeom>
            <a:avLst/>
            <a:gdLst>
              <a:gd name="connsiteX0" fmla="*/ 5507372 w 7201432"/>
              <a:gd name="connsiteY0" fmla="*/ 1160746 h 7655602"/>
              <a:gd name="connsiteX1" fmla="*/ 7201431 w 7201432"/>
              <a:gd name="connsiteY1" fmla="*/ 2861440 h 7655602"/>
              <a:gd name="connsiteX2" fmla="*/ 7201431 w 7201432"/>
              <a:gd name="connsiteY2" fmla="*/ 4077932 h 7655602"/>
              <a:gd name="connsiteX3" fmla="*/ 6335781 w 7201432"/>
              <a:gd name="connsiteY3" fmla="*/ 5726578 h 7655602"/>
              <a:gd name="connsiteX4" fmla="*/ 5503762 w 7201432"/>
              <a:gd name="connsiteY4" fmla="*/ 6305761 h 7655602"/>
              <a:gd name="connsiteX5" fmla="*/ 5503762 w 7201432"/>
              <a:gd name="connsiteY5" fmla="*/ 6697454 h 7655602"/>
              <a:gd name="connsiteX6" fmla="*/ 5262839 w 7201432"/>
              <a:gd name="connsiteY6" fmla="*/ 7160762 h 7655602"/>
              <a:gd name="connsiteX7" fmla="*/ 4580352 w 7201432"/>
              <a:gd name="connsiteY7" fmla="*/ 7631288 h 7655602"/>
              <a:gd name="connsiteX8" fmla="*/ 4498082 w 7201432"/>
              <a:gd name="connsiteY8" fmla="*/ 7655602 h 7655602"/>
              <a:gd name="connsiteX9" fmla="*/ 4366980 w 7201432"/>
              <a:gd name="connsiteY9" fmla="*/ 7515414 h 7655602"/>
              <a:gd name="connsiteX10" fmla="*/ 4366980 w 7201432"/>
              <a:gd name="connsiteY10" fmla="*/ 6003537 h 7655602"/>
              <a:gd name="connsiteX11" fmla="*/ 4608092 w 7201432"/>
              <a:gd name="connsiteY11" fmla="*/ 5540040 h 7655602"/>
              <a:gd name="connsiteX12" fmla="*/ 4707654 w 7201432"/>
              <a:gd name="connsiteY12" fmla="*/ 5471654 h 7655602"/>
              <a:gd name="connsiteX13" fmla="*/ 5576913 w 7201432"/>
              <a:gd name="connsiteY13" fmla="*/ 4871577 h 7655602"/>
              <a:gd name="connsiteX14" fmla="*/ 6064648 w 7201432"/>
              <a:gd name="connsiteY14" fmla="*/ 3944771 h 7655602"/>
              <a:gd name="connsiteX15" fmla="*/ 6064648 w 7201432"/>
              <a:gd name="connsiteY15" fmla="*/ 2860300 h 7655602"/>
              <a:gd name="connsiteX16" fmla="*/ 5965087 w 7201432"/>
              <a:gd name="connsiteY16" fmla="*/ 2540601 h 7655602"/>
              <a:gd name="connsiteX17" fmla="*/ 5179429 w 7201432"/>
              <a:gd name="connsiteY17" fmla="*/ 2396994 h 7655602"/>
              <a:gd name="connsiteX18" fmla="*/ 1909304 w 7201432"/>
              <a:gd name="connsiteY18" fmla="*/ 4659583 h 7655602"/>
              <a:gd name="connsiteX19" fmla="*/ 1830453 w 7201432"/>
              <a:gd name="connsiteY19" fmla="*/ 4682759 h 7655602"/>
              <a:gd name="connsiteX20" fmla="*/ 1695930 w 7201432"/>
              <a:gd name="connsiteY20" fmla="*/ 4543709 h 7655602"/>
              <a:gd name="connsiteX21" fmla="*/ 1695930 w 7201432"/>
              <a:gd name="connsiteY21" fmla="*/ 3720051 h 7655602"/>
              <a:gd name="connsiteX22" fmla="*/ 1938184 w 7201432"/>
              <a:gd name="connsiteY22" fmla="*/ 3256553 h 7655602"/>
              <a:gd name="connsiteX23" fmla="*/ 4533992 w 7201432"/>
              <a:gd name="connsiteY23" fmla="*/ 1465438 h 7655602"/>
              <a:gd name="connsiteX24" fmla="*/ 5507372 w 7201432"/>
              <a:gd name="connsiteY24" fmla="*/ 1160746 h 7655602"/>
              <a:gd name="connsiteX25" fmla="*/ 2704404 w 7201432"/>
              <a:gd name="connsiteY25" fmla="*/ 0 h 7655602"/>
              <a:gd name="connsiteX26" fmla="*/ 2835301 w 7201432"/>
              <a:gd name="connsiteY26" fmla="*/ 140205 h 7655602"/>
              <a:gd name="connsiteX27" fmla="*/ 2835301 w 7201432"/>
              <a:gd name="connsiteY27" fmla="*/ 1649979 h 7655602"/>
              <a:gd name="connsiteX28" fmla="*/ 2594213 w 7201432"/>
              <a:gd name="connsiteY28" fmla="*/ 2113530 h 7655602"/>
              <a:gd name="connsiteX29" fmla="*/ 1622073 w 7201432"/>
              <a:gd name="connsiteY29" fmla="*/ 2785490 h 7655602"/>
              <a:gd name="connsiteX30" fmla="*/ 1131918 w 7201432"/>
              <a:gd name="connsiteY30" fmla="*/ 3712403 h 7655602"/>
              <a:gd name="connsiteX31" fmla="*/ 1131918 w 7201432"/>
              <a:gd name="connsiteY31" fmla="*/ 4802700 h 7655602"/>
              <a:gd name="connsiteX32" fmla="*/ 1231659 w 7201432"/>
              <a:gd name="connsiteY32" fmla="*/ 5122437 h 7655602"/>
              <a:gd name="connsiteX33" fmla="*/ 2017237 w 7201432"/>
              <a:gd name="connsiteY33" fmla="*/ 5266251 h 7655602"/>
              <a:gd name="connsiteX34" fmla="*/ 5287025 w 7201432"/>
              <a:gd name="connsiteY34" fmla="*/ 3004537 h 7655602"/>
              <a:gd name="connsiteX35" fmla="*/ 5367008 w 7201432"/>
              <a:gd name="connsiteY35" fmla="*/ 2981360 h 7655602"/>
              <a:gd name="connsiteX36" fmla="*/ 5499047 w 7201432"/>
              <a:gd name="connsiteY36" fmla="*/ 3120424 h 7655602"/>
              <a:gd name="connsiteX37" fmla="*/ 5499047 w 7201432"/>
              <a:gd name="connsiteY37" fmla="*/ 3944180 h 7655602"/>
              <a:gd name="connsiteX38" fmla="*/ 5257959 w 7201432"/>
              <a:gd name="connsiteY38" fmla="*/ 4407541 h 7655602"/>
              <a:gd name="connsiteX39" fmla="*/ 2664886 w 7201432"/>
              <a:gd name="connsiteY39" fmla="*/ 6197724 h 7655602"/>
              <a:gd name="connsiteX40" fmla="*/ 1695026 w 7201432"/>
              <a:gd name="connsiteY40" fmla="*/ 6500172 h 7655602"/>
              <a:gd name="connsiteX41" fmla="*/ 2 w 7201432"/>
              <a:gd name="connsiteY41" fmla="*/ 4800420 h 7655602"/>
              <a:gd name="connsiteX42" fmla="*/ 2 w 7201432"/>
              <a:gd name="connsiteY42" fmla="*/ 3579227 h 7655602"/>
              <a:gd name="connsiteX43" fmla="*/ 865562 w 7201432"/>
              <a:gd name="connsiteY43" fmla="*/ 1938559 h 7655602"/>
              <a:gd name="connsiteX44" fmla="*/ 1699776 w 7201432"/>
              <a:gd name="connsiteY44" fmla="*/ 1359118 h 7655602"/>
              <a:gd name="connsiteX45" fmla="*/ 1699776 w 7201432"/>
              <a:gd name="connsiteY45" fmla="*/ 963009 h 7655602"/>
              <a:gd name="connsiteX46" fmla="*/ 1940673 w 7201432"/>
              <a:gd name="connsiteY46" fmla="*/ 499458 h 7655602"/>
              <a:gd name="connsiteX47" fmla="*/ 2621951 w 7201432"/>
              <a:gd name="connsiteY47" fmla="*/ 24318 h 7655602"/>
              <a:gd name="connsiteX48" fmla="*/ 2704404 w 7201432"/>
              <a:gd name="connsiteY48" fmla="*/ 0 h 765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7201432" h="7655602">
                <a:moveTo>
                  <a:pt x="5507372" y="1160746"/>
                </a:moveTo>
                <a:cubicBezTo>
                  <a:pt x="6444843" y="1163215"/>
                  <a:pt x="7202571" y="1924187"/>
                  <a:pt x="7201431" y="2861440"/>
                </a:cubicBezTo>
                <a:cubicBezTo>
                  <a:pt x="7201431" y="2861440"/>
                  <a:pt x="7201431" y="2861440"/>
                  <a:pt x="7201431" y="4077932"/>
                </a:cubicBezTo>
                <a:cubicBezTo>
                  <a:pt x="7201431" y="4735947"/>
                  <a:pt x="6878238" y="5352360"/>
                  <a:pt x="6335781" y="5726578"/>
                </a:cubicBezTo>
                <a:cubicBezTo>
                  <a:pt x="6335781" y="5726578"/>
                  <a:pt x="6335781" y="5726578"/>
                  <a:pt x="5503762" y="6305761"/>
                </a:cubicBezTo>
                <a:cubicBezTo>
                  <a:pt x="5503762" y="6305761"/>
                  <a:pt x="5503762" y="6305761"/>
                  <a:pt x="5503762" y="6697454"/>
                </a:cubicBezTo>
                <a:cubicBezTo>
                  <a:pt x="5504903" y="6881713"/>
                  <a:pt x="5414652" y="7055335"/>
                  <a:pt x="5262839" y="7160762"/>
                </a:cubicBezTo>
                <a:cubicBezTo>
                  <a:pt x="5262839" y="7160762"/>
                  <a:pt x="5262839" y="7160762"/>
                  <a:pt x="4580352" y="7631288"/>
                </a:cubicBezTo>
                <a:cubicBezTo>
                  <a:pt x="4555842" y="7648574"/>
                  <a:pt x="4526962" y="7655602"/>
                  <a:pt x="4498082" y="7655602"/>
                </a:cubicBezTo>
                <a:cubicBezTo>
                  <a:pt x="4422651" y="7653133"/>
                  <a:pt x="4364700" y="7590637"/>
                  <a:pt x="4366980" y="7515414"/>
                </a:cubicBezTo>
                <a:cubicBezTo>
                  <a:pt x="4366980" y="7515414"/>
                  <a:pt x="4366980" y="7515414"/>
                  <a:pt x="4366980" y="6003537"/>
                </a:cubicBezTo>
                <a:cubicBezTo>
                  <a:pt x="4365840" y="5818137"/>
                  <a:pt x="4456281" y="5645466"/>
                  <a:pt x="4608092" y="5540040"/>
                </a:cubicBezTo>
                <a:cubicBezTo>
                  <a:pt x="4608092" y="5540040"/>
                  <a:pt x="4608092" y="5540040"/>
                  <a:pt x="4707654" y="5471654"/>
                </a:cubicBezTo>
                <a:cubicBezTo>
                  <a:pt x="4707654" y="5471654"/>
                  <a:pt x="4707654" y="5471654"/>
                  <a:pt x="5576913" y="4871577"/>
                </a:cubicBezTo>
                <a:cubicBezTo>
                  <a:pt x="5881677" y="4660723"/>
                  <a:pt x="6064648" y="4315570"/>
                  <a:pt x="6064648" y="3944771"/>
                </a:cubicBezTo>
                <a:cubicBezTo>
                  <a:pt x="6064648" y="3944771"/>
                  <a:pt x="6064648" y="3944771"/>
                  <a:pt x="6064648" y="2860300"/>
                </a:cubicBezTo>
                <a:cubicBezTo>
                  <a:pt x="6064648" y="2746896"/>
                  <a:pt x="6029878" y="2634441"/>
                  <a:pt x="5965087" y="2540601"/>
                </a:cubicBezTo>
                <a:cubicBezTo>
                  <a:pt x="5787816" y="2283399"/>
                  <a:pt x="5435551" y="2219763"/>
                  <a:pt x="5179429" y="2396994"/>
                </a:cubicBezTo>
                <a:cubicBezTo>
                  <a:pt x="5179429" y="2396994"/>
                  <a:pt x="5179429" y="2396994"/>
                  <a:pt x="1909304" y="4659583"/>
                </a:cubicBezTo>
                <a:cubicBezTo>
                  <a:pt x="1886123" y="4674591"/>
                  <a:pt x="1858193" y="4682759"/>
                  <a:pt x="1830453" y="4682759"/>
                </a:cubicBezTo>
                <a:cubicBezTo>
                  <a:pt x="1755212" y="4681619"/>
                  <a:pt x="1694791" y="4618933"/>
                  <a:pt x="1695930" y="4543709"/>
                </a:cubicBezTo>
                <a:cubicBezTo>
                  <a:pt x="1695930" y="4543709"/>
                  <a:pt x="1695930" y="4543709"/>
                  <a:pt x="1695930" y="3720051"/>
                </a:cubicBezTo>
                <a:cubicBezTo>
                  <a:pt x="1694791" y="3534652"/>
                  <a:pt x="1785232" y="3361980"/>
                  <a:pt x="1938184" y="3256553"/>
                </a:cubicBezTo>
                <a:cubicBezTo>
                  <a:pt x="1938184" y="3256553"/>
                  <a:pt x="1938184" y="3256553"/>
                  <a:pt x="4533992" y="1465438"/>
                </a:cubicBezTo>
                <a:cubicBezTo>
                  <a:pt x="4820135" y="1266173"/>
                  <a:pt x="5159668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7" y="2471"/>
                  <a:pt x="2837581" y="64973"/>
                  <a:pt x="2835301" y="140205"/>
                </a:cubicBezTo>
                <a:cubicBezTo>
                  <a:pt x="2835301" y="140205"/>
                  <a:pt x="2835301" y="140205"/>
                  <a:pt x="2835301" y="1649979"/>
                </a:cubicBezTo>
                <a:cubicBezTo>
                  <a:pt x="2836441" y="1835399"/>
                  <a:pt x="2747149" y="2009232"/>
                  <a:pt x="2594213" y="2113530"/>
                </a:cubicBezTo>
                <a:cubicBezTo>
                  <a:pt x="2594213" y="2113530"/>
                  <a:pt x="2594213" y="2113530"/>
                  <a:pt x="1622073" y="2785490"/>
                </a:cubicBezTo>
                <a:cubicBezTo>
                  <a:pt x="1316201" y="2995228"/>
                  <a:pt x="1133057" y="3341753"/>
                  <a:pt x="1131918" y="3712403"/>
                </a:cubicBezTo>
                <a:cubicBezTo>
                  <a:pt x="1131918" y="3712403"/>
                  <a:pt x="1131918" y="3712403"/>
                  <a:pt x="1131918" y="4802700"/>
                </a:cubicBezTo>
                <a:cubicBezTo>
                  <a:pt x="1131918" y="4916308"/>
                  <a:pt x="1166685" y="5028586"/>
                  <a:pt x="1231659" y="5122437"/>
                </a:cubicBezTo>
                <a:cubicBezTo>
                  <a:pt x="1408912" y="5379670"/>
                  <a:pt x="1761140" y="5443503"/>
                  <a:pt x="2017237" y="5266251"/>
                </a:cubicBezTo>
                <a:cubicBezTo>
                  <a:pt x="2017237" y="5266251"/>
                  <a:pt x="2017237" y="5266251"/>
                  <a:pt x="5287025" y="3004537"/>
                </a:cubicBezTo>
                <a:cubicBezTo>
                  <a:pt x="5310204" y="2988199"/>
                  <a:pt x="5337942" y="2981360"/>
                  <a:pt x="5367008" y="2981360"/>
                </a:cubicBezTo>
                <a:cubicBezTo>
                  <a:pt x="5442241" y="2983640"/>
                  <a:pt x="5501326" y="3045003"/>
                  <a:pt x="5499047" y="3120424"/>
                </a:cubicBezTo>
                <a:cubicBezTo>
                  <a:pt x="5499047" y="3120424"/>
                  <a:pt x="5499047" y="3120424"/>
                  <a:pt x="5499047" y="3944180"/>
                </a:cubicBezTo>
                <a:cubicBezTo>
                  <a:pt x="5500186" y="4128460"/>
                  <a:pt x="5409755" y="4302102"/>
                  <a:pt x="5257959" y="4407541"/>
                </a:cubicBezTo>
                <a:cubicBezTo>
                  <a:pt x="5257959" y="4407541"/>
                  <a:pt x="5257959" y="4407541"/>
                  <a:pt x="2664886" y="6197724"/>
                </a:cubicBezTo>
                <a:cubicBezTo>
                  <a:pt x="2379914" y="6394733"/>
                  <a:pt x="2041554" y="6500172"/>
                  <a:pt x="1695026" y="6500172"/>
                </a:cubicBezTo>
                <a:cubicBezTo>
                  <a:pt x="757653" y="6499033"/>
                  <a:pt x="-1138" y="5737783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2" y="2923416"/>
                  <a:pt x="325633" y="2310540"/>
                  <a:pt x="865562" y="1938559"/>
                </a:cubicBezTo>
                <a:cubicBezTo>
                  <a:pt x="865562" y="1938559"/>
                  <a:pt x="865562" y="1938559"/>
                  <a:pt x="1699776" y="1359118"/>
                </a:cubicBezTo>
                <a:cubicBezTo>
                  <a:pt x="1699776" y="1359118"/>
                  <a:pt x="1699776" y="1359118"/>
                  <a:pt x="1699776" y="963009"/>
                </a:cubicBezTo>
                <a:cubicBezTo>
                  <a:pt x="1698635" y="778729"/>
                  <a:pt x="1788877" y="604898"/>
                  <a:pt x="1940673" y="499458"/>
                </a:cubicBezTo>
                <a:cubicBezTo>
                  <a:pt x="1940673" y="499458"/>
                  <a:pt x="1940673" y="499458"/>
                  <a:pt x="2621951" y="24318"/>
                </a:cubicBezTo>
                <a:cubicBezTo>
                  <a:pt x="2646458" y="7030"/>
                  <a:pt x="2675336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436660" y="1850544"/>
            <a:ext cx="3347972" cy="2586280"/>
          </a:xfrm>
          <a:prstGeom prst="rect">
            <a:avLst/>
          </a:prstGeom>
        </p:spPr>
        <p:txBody>
          <a:bodyPr tIns="144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674987" y="1844824"/>
            <a:ext cx="5041193" cy="2592000"/>
          </a:xfrm>
        </p:spPr>
        <p:txBody>
          <a:bodyPr anchor="t"/>
          <a:lstStyle>
            <a:lvl1pPr algn="r"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19662877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0C9BB8D-C60B-9324-4715-36DE3EC3BE7D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4F68041E-1A0B-B25A-851F-0C7649821F5D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5916613" cy="6858000"/>
          </a:xfrm>
          <a:custGeom>
            <a:avLst/>
            <a:gdLst>
              <a:gd name="connsiteX0" fmla="*/ 4082189 w 5916613"/>
              <a:gd name="connsiteY0" fmla="*/ 2582559 h 6858000"/>
              <a:gd name="connsiteX1" fmla="*/ 4214228 w 5916613"/>
              <a:gd name="connsiteY1" fmla="*/ 2721624 h 6858000"/>
              <a:gd name="connsiteX2" fmla="*/ 4214228 w 5916613"/>
              <a:gd name="connsiteY2" fmla="*/ 3545379 h 6858000"/>
              <a:gd name="connsiteX3" fmla="*/ 3973140 w 5916613"/>
              <a:gd name="connsiteY3" fmla="*/ 4008740 h 6858000"/>
              <a:gd name="connsiteX4" fmla="*/ 1380068 w 5916613"/>
              <a:gd name="connsiteY4" fmla="*/ 5798923 h 6858000"/>
              <a:gd name="connsiteX5" fmla="*/ 410207 w 5916613"/>
              <a:gd name="connsiteY5" fmla="*/ 6101371 h 6858000"/>
              <a:gd name="connsiteX6" fmla="*/ 68199 w 5916613"/>
              <a:gd name="connsiteY6" fmla="*/ 6066454 h 6858000"/>
              <a:gd name="connsiteX7" fmla="*/ 0 w 5916613"/>
              <a:gd name="connsiteY7" fmla="*/ 6048820 h 6858000"/>
              <a:gd name="connsiteX8" fmla="*/ 0 w 5916613"/>
              <a:gd name="connsiteY8" fmla="*/ 4786232 h 6858000"/>
              <a:gd name="connsiteX9" fmla="*/ 20983 w 5916613"/>
              <a:gd name="connsiteY9" fmla="*/ 4810939 h 6858000"/>
              <a:gd name="connsiteX10" fmla="*/ 732418 w 5916613"/>
              <a:gd name="connsiteY10" fmla="*/ 4867450 h 6858000"/>
              <a:gd name="connsiteX11" fmla="*/ 4002206 w 5916613"/>
              <a:gd name="connsiteY11" fmla="*/ 2605736 h 6858000"/>
              <a:gd name="connsiteX12" fmla="*/ 4082189 w 5916613"/>
              <a:gd name="connsiteY12" fmla="*/ 2582559 h 6858000"/>
              <a:gd name="connsiteX13" fmla="*/ 4222553 w 5916613"/>
              <a:gd name="connsiteY13" fmla="*/ 761945 h 6858000"/>
              <a:gd name="connsiteX14" fmla="*/ 5916612 w 5916613"/>
              <a:gd name="connsiteY14" fmla="*/ 2462639 h 6858000"/>
              <a:gd name="connsiteX15" fmla="*/ 5916612 w 5916613"/>
              <a:gd name="connsiteY15" fmla="*/ 3679131 h 6858000"/>
              <a:gd name="connsiteX16" fmla="*/ 5050962 w 5916613"/>
              <a:gd name="connsiteY16" fmla="*/ 5327777 h 6858000"/>
              <a:gd name="connsiteX17" fmla="*/ 4218943 w 5916613"/>
              <a:gd name="connsiteY17" fmla="*/ 5906960 h 6858000"/>
              <a:gd name="connsiteX18" fmla="*/ 4218943 w 5916613"/>
              <a:gd name="connsiteY18" fmla="*/ 6298653 h 6858000"/>
              <a:gd name="connsiteX19" fmla="*/ 3978020 w 5916613"/>
              <a:gd name="connsiteY19" fmla="*/ 6761961 h 6858000"/>
              <a:gd name="connsiteX20" fmla="*/ 3892710 w 5916613"/>
              <a:gd name="connsiteY20" fmla="*/ 6820777 h 6858000"/>
              <a:gd name="connsiteX21" fmla="*/ 3838718 w 5916613"/>
              <a:gd name="connsiteY21" fmla="*/ 6858000 h 6858000"/>
              <a:gd name="connsiteX22" fmla="*/ 3082161 w 5916613"/>
              <a:gd name="connsiteY22" fmla="*/ 6858000 h 6858000"/>
              <a:gd name="connsiteX23" fmla="*/ 3082161 w 5916613"/>
              <a:gd name="connsiteY23" fmla="*/ 6847531 h 6858000"/>
              <a:gd name="connsiteX24" fmla="*/ 3082161 w 5916613"/>
              <a:gd name="connsiteY24" fmla="*/ 5604736 h 6858000"/>
              <a:gd name="connsiteX25" fmla="*/ 3323273 w 5916613"/>
              <a:gd name="connsiteY25" fmla="*/ 5141239 h 6858000"/>
              <a:gd name="connsiteX26" fmla="*/ 3422835 w 5916613"/>
              <a:gd name="connsiteY26" fmla="*/ 5072853 h 6858000"/>
              <a:gd name="connsiteX27" fmla="*/ 4292094 w 5916613"/>
              <a:gd name="connsiteY27" fmla="*/ 4472776 h 6858000"/>
              <a:gd name="connsiteX28" fmla="*/ 4779829 w 5916613"/>
              <a:gd name="connsiteY28" fmla="*/ 3545970 h 6858000"/>
              <a:gd name="connsiteX29" fmla="*/ 4779829 w 5916613"/>
              <a:gd name="connsiteY29" fmla="*/ 2461499 h 6858000"/>
              <a:gd name="connsiteX30" fmla="*/ 4680268 w 5916613"/>
              <a:gd name="connsiteY30" fmla="*/ 2141800 h 6858000"/>
              <a:gd name="connsiteX31" fmla="*/ 3894610 w 5916613"/>
              <a:gd name="connsiteY31" fmla="*/ 1998193 h 6858000"/>
              <a:gd name="connsiteX32" fmla="*/ 624485 w 5916613"/>
              <a:gd name="connsiteY32" fmla="*/ 4260782 h 6858000"/>
              <a:gd name="connsiteX33" fmla="*/ 545634 w 5916613"/>
              <a:gd name="connsiteY33" fmla="*/ 4283958 h 6858000"/>
              <a:gd name="connsiteX34" fmla="*/ 411111 w 5916613"/>
              <a:gd name="connsiteY34" fmla="*/ 4144908 h 6858000"/>
              <a:gd name="connsiteX35" fmla="*/ 411111 w 5916613"/>
              <a:gd name="connsiteY35" fmla="*/ 3321250 h 6858000"/>
              <a:gd name="connsiteX36" fmla="*/ 653365 w 5916613"/>
              <a:gd name="connsiteY36" fmla="*/ 2857752 h 6858000"/>
              <a:gd name="connsiteX37" fmla="*/ 3249173 w 5916613"/>
              <a:gd name="connsiteY37" fmla="*/ 1066637 h 6858000"/>
              <a:gd name="connsiteX38" fmla="*/ 4222553 w 5916613"/>
              <a:gd name="connsiteY38" fmla="*/ 761945 h 6858000"/>
              <a:gd name="connsiteX39" fmla="*/ 800181 w 5916613"/>
              <a:gd name="connsiteY39" fmla="*/ 0 h 6858000"/>
              <a:gd name="connsiteX40" fmla="*/ 1550482 w 5916613"/>
              <a:gd name="connsiteY40" fmla="*/ 0 h 6858000"/>
              <a:gd name="connsiteX41" fmla="*/ 1550482 w 5916613"/>
              <a:gd name="connsiteY41" fmla="*/ 10112 h 6858000"/>
              <a:gd name="connsiteX42" fmla="*/ 1550482 w 5916613"/>
              <a:gd name="connsiteY42" fmla="*/ 1251178 h 6858000"/>
              <a:gd name="connsiteX43" fmla="*/ 1309395 w 5916613"/>
              <a:gd name="connsiteY43" fmla="*/ 1714729 h 6858000"/>
              <a:gd name="connsiteX44" fmla="*/ 337254 w 5916613"/>
              <a:gd name="connsiteY44" fmla="*/ 2386689 h 6858000"/>
              <a:gd name="connsiteX45" fmla="*/ 48050 w 5916613"/>
              <a:gd name="connsiteY45" fmla="*/ 2674410 h 6858000"/>
              <a:gd name="connsiteX46" fmla="*/ 0 w 5916613"/>
              <a:gd name="connsiteY46" fmla="*/ 2753451 h 6858000"/>
              <a:gd name="connsiteX47" fmla="*/ 0 w 5916613"/>
              <a:gd name="connsiteY47" fmla="*/ 1248544 h 6858000"/>
              <a:gd name="connsiteX48" fmla="*/ 28196 w 5916613"/>
              <a:gd name="connsiteY48" fmla="*/ 1228959 h 6858000"/>
              <a:gd name="connsiteX49" fmla="*/ 414957 w 5916613"/>
              <a:gd name="connsiteY49" fmla="*/ 960317 h 6858000"/>
              <a:gd name="connsiteX50" fmla="*/ 414957 w 5916613"/>
              <a:gd name="connsiteY50" fmla="*/ 564209 h 6858000"/>
              <a:gd name="connsiteX51" fmla="*/ 655854 w 5916613"/>
              <a:gd name="connsiteY51" fmla="*/ 100657 h 6858000"/>
              <a:gd name="connsiteX52" fmla="*/ 741014 w 5916613"/>
              <a:gd name="connsiteY52" fmla="*/ 412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6613" h="6858000">
                <a:moveTo>
                  <a:pt x="4082189" y="2582559"/>
                </a:moveTo>
                <a:cubicBezTo>
                  <a:pt x="4157422" y="2584839"/>
                  <a:pt x="4216507" y="2646202"/>
                  <a:pt x="4214228" y="2721624"/>
                </a:cubicBezTo>
                <a:cubicBezTo>
                  <a:pt x="4214228" y="2721624"/>
                  <a:pt x="4214228" y="2721624"/>
                  <a:pt x="4214228" y="3545379"/>
                </a:cubicBezTo>
                <a:cubicBezTo>
                  <a:pt x="4215367" y="3729659"/>
                  <a:pt x="4124936" y="3903301"/>
                  <a:pt x="3973140" y="4008740"/>
                </a:cubicBezTo>
                <a:cubicBezTo>
                  <a:pt x="3973140" y="4008740"/>
                  <a:pt x="3973140" y="4008740"/>
                  <a:pt x="1380068" y="5798923"/>
                </a:cubicBezTo>
                <a:cubicBezTo>
                  <a:pt x="1095095" y="5995932"/>
                  <a:pt x="756736" y="6101371"/>
                  <a:pt x="410207" y="6101371"/>
                </a:cubicBezTo>
                <a:cubicBezTo>
                  <a:pt x="293036" y="6101229"/>
                  <a:pt x="178654" y="6089210"/>
                  <a:pt x="68199" y="6066454"/>
                </a:cubicBezTo>
                <a:lnTo>
                  <a:pt x="0" y="6048820"/>
                </a:lnTo>
                <a:lnTo>
                  <a:pt x="0" y="4786232"/>
                </a:lnTo>
                <a:lnTo>
                  <a:pt x="20983" y="4810939"/>
                </a:lnTo>
                <a:cubicBezTo>
                  <a:pt x="210648" y="4993060"/>
                  <a:pt x="508333" y="5022546"/>
                  <a:pt x="732418" y="4867450"/>
                </a:cubicBezTo>
                <a:cubicBezTo>
                  <a:pt x="732418" y="4867450"/>
                  <a:pt x="732418" y="4867450"/>
                  <a:pt x="4002206" y="2605736"/>
                </a:cubicBezTo>
                <a:cubicBezTo>
                  <a:pt x="4025385" y="2589398"/>
                  <a:pt x="4053123" y="2582559"/>
                  <a:pt x="4082189" y="2582559"/>
                </a:cubicBezTo>
                <a:close/>
                <a:moveTo>
                  <a:pt x="4222553" y="761945"/>
                </a:moveTo>
                <a:cubicBezTo>
                  <a:pt x="5160024" y="764414"/>
                  <a:pt x="5917752" y="1525386"/>
                  <a:pt x="5916612" y="2462639"/>
                </a:cubicBezTo>
                <a:cubicBezTo>
                  <a:pt x="5916612" y="2462639"/>
                  <a:pt x="5916612" y="2462639"/>
                  <a:pt x="5916612" y="3679131"/>
                </a:cubicBezTo>
                <a:cubicBezTo>
                  <a:pt x="5916612" y="4337146"/>
                  <a:pt x="5593419" y="4953559"/>
                  <a:pt x="5050962" y="5327777"/>
                </a:cubicBezTo>
                <a:cubicBezTo>
                  <a:pt x="5050962" y="5327777"/>
                  <a:pt x="5050962" y="5327777"/>
                  <a:pt x="4218943" y="5906960"/>
                </a:cubicBezTo>
                <a:cubicBezTo>
                  <a:pt x="4218943" y="5906960"/>
                  <a:pt x="4218943" y="5906960"/>
                  <a:pt x="4218943" y="6298653"/>
                </a:cubicBezTo>
                <a:cubicBezTo>
                  <a:pt x="4220084" y="6482912"/>
                  <a:pt x="4129833" y="6656534"/>
                  <a:pt x="3978020" y="6761961"/>
                </a:cubicBezTo>
                <a:cubicBezTo>
                  <a:pt x="3978020" y="6761961"/>
                  <a:pt x="3978020" y="6761961"/>
                  <a:pt x="3892710" y="6820777"/>
                </a:cubicBezTo>
                <a:lnTo>
                  <a:pt x="3838718" y="6858000"/>
                </a:lnTo>
                <a:lnTo>
                  <a:pt x="3082161" y="6858000"/>
                </a:lnTo>
                <a:lnTo>
                  <a:pt x="3082161" y="6847531"/>
                </a:lnTo>
                <a:cubicBezTo>
                  <a:pt x="3082161" y="6638246"/>
                  <a:pt x="3082161" y="6266182"/>
                  <a:pt x="3082161" y="5604736"/>
                </a:cubicBezTo>
                <a:cubicBezTo>
                  <a:pt x="3081021" y="5419336"/>
                  <a:pt x="3171462" y="5246665"/>
                  <a:pt x="3323273" y="5141239"/>
                </a:cubicBezTo>
                <a:cubicBezTo>
                  <a:pt x="3323273" y="5141239"/>
                  <a:pt x="3323273" y="5141239"/>
                  <a:pt x="3422835" y="5072853"/>
                </a:cubicBezTo>
                <a:cubicBezTo>
                  <a:pt x="3422835" y="5072853"/>
                  <a:pt x="3422835" y="5072853"/>
                  <a:pt x="4292094" y="4472776"/>
                </a:cubicBezTo>
                <a:cubicBezTo>
                  <a:pt x="4596858" y="4261922"/>
                  <a:pt x="4779829" y="3916769"/>
                  <a:pt x="4779829" y="3545970"/>
                </a:cubicBezTo>
                <a:cubicBezTo>
                  <a:pt x="4779829" y="3545970"/>
                  <a:pt x="4779829" y="3545970"/>
                  <a:pt x="4779829" y="2461499"/>
                </a:cubicBezTo>
                <a:cubicBezTo>
                  <a:pt x="4779829" y="2348095"/>
                  <a:pt x="4745060" y="2235640"/>
                  <a:pt x="4680268" y="2141800"/>
                </a:cubicBezTo>
                <a:cubicBezTo>
                  <a:pt x="4502997" y="1884598"/>
                  <a:pt x="4150732" y="1820962"/>
                  <a:pt x="3894610" y="1998193"/>
                </a:cubicBezTo>
                <a:cubicBezTo>
                  <a:pt x="3894610" y="1998193"/>
                  <a:pt x="3894610" y="1998193"/>
                  <a:pt x="624485" y="4260782"/>
                </a:cubicBezTo>
                <a:cubicBezTo>
                  <a:pt x="601304" y="4275790"/>
                  <a:pt x="573374" y="4283958"/>
                  <a:pt x="545634" y="4283958"/>
                </a:cubicBezTo>
                <a:cubicBezTo>
                  <a:pt x="470393" y="4282818"/>
                  <a:pt x="409972" y="4220132"/>
                  <a:pt x="411111" y="4144908"/>
                </a:cubicBezTo>
                <a:cubicBezTo>
                  <a:pt x="411111" y="4144908"/>
                  <a:pt x="411111" y="4144908"/>
                  <a:pt x="411111" y="3321250"/>
                </a:cubicBezTo>
                <a:cubicBezTo>
                  <a:pt x="409972" y="3135851"/>
                  <a:pt x="500414" y="2963179"/>
                  <a:pt x="653365" y="2857752"/>
                </a:cubicBezTo>
                <a:cubicBezTo>
                  <a:pt x="653365" y="2857752"/>
                  <a:pt x="653365" y="2857752"/>
                  <a:pt x="3249173" y="1066637"/>
                </a:cubicBezTo>
                <a:cubicBezTo>
                  <a:pt x="3535316" y="867372"/>
                  <a:pt x="3874849" y="761945"/>
                  <a:pt x="4222553" y="761945"/>
                </a:cubicBezTo>
                <a:close/>
                <a:moveTo>
                  <a:pt x="800181" y="0"/>
                </a:moveTo>
                <a:lnTo>
                  <a:pt x="1550482" y="0"/>
                </a:lnTo>
                <a:lnTo>
                  <a:pt x="1550482" y="10112"/>
                </a:lnTo>
                <a:cubicBezTo>
                  <a:pt x="1550482" y="219106"/>
                  <a:pt x="1550482" y="590652"/>
                  <a:pt x="1550482" y="1251178"/>
                </a:cubicBezTo>
                <a:cubicBezTo>
                  <a:pt x="1551622" y="1436598"/>
                  <a:pt x="1462330" y="1610431"/>
                  <a:pt x="1309395" y="1714729"/>
                </a:cubicBezTo>
                <a:cubicBezTo>
                  <a:pt x="1309395" y="1714729"/>
                  <a:pt x="1309395" y="1714729"/>
                  <a:pt x="337254" y="2386689"/>
                </a:cubicBezTo>
                <a:cubicBezTo>
                  <a:pt x="222552" y="2465341"/>
                  <a:pt x="125109" y="2563228"/>
                  <a:pt x="48050" y="2674410"/>
                </a:cubicBezTo>
                <a:lnTo>
                  <a:pt x="0" y="2753451"/>
                </a:lnTo>
                <a:lnTo>
                  <a:pt x="0" y="1248544"/>
                </a:lnTo>
                <a:lnTo>
                  <a:pt x="28196" y="1228959"/>
                </a:lnTo>
                <a:cubicBezTo>
                  <a:pt x="131455" y="1157236"/>
                  <a:pt x="258542" y="1068962"/>
                  <a:pt x="414957" y="960317"/>
                </a:cubicBezTo>
                <a:cubicBezTo>
                  <a:pt x="414957" y="960317"/>
                  <a:pt x="414957" y="960317"/>
                  <a:pt x="414957" y="564209"/>
                </a:cubicBezTo>
                <a:cubicBezTo>
                  <a:pt x="413816" y="379928"/>
                  <a:pt x="504058" y="206097"/>
                  <a:pt x="655854" y="100657"/>
                </a:cubicBezTo>
                <a:cubicBezTo>
                  <a:pt x="655854" y="100657"/>
                  <a:pt x="655854" y="100657"/>
                  <a:pt x="741014" y="41265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375920" y="1196992"/>
            <a:ext cx="5941368" cy="2160000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de-DE"/>
              <a:t>Name des aktuellen Kapitel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375920" y="3717032"/>
            <a:ext cx="4536000" cy="93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Kurzbeschreibung des aktuellen Kapitels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70A320-0CFE-6369-8DC3-30D4065C65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75620" y="1773399"/>
            <a:ext cx="2339677" cy="1620000"/>
          </a:xfrm>
        </p:spPr>
        <p:txBody>
          <a:bodyPr wrap="none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2D290FCC-4C63-1BB1-A610-5E2997445854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D1BA77-AF83-4946-BF9B-0BA16262650E}" type="datetime1">
              <a:rPr lang="de-DE" smtClean="0"/>
              <a:t>10.10.24</a:t>
            </a:fld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CFD540A9-6CA0-494F-9FB6-83228539F5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1F2C77E8-6470-FECD-111C-695BB767F4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427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875420" y="1844824"/>
            <a:ext cx="104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D81F9EA7-FA43-CDBE-2C98-C7B0B993274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D0940363-1241-78DD-58F5-868CB32267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D2DF2D9-0E9C-44C1-9F88-571B4F8E5F65}" type="datetime1">
              <a:rPr lang="de-DE" smtClean="0"/>
              <a:t>10.10.24</a:t>
            </a:fld>
            <a:endParaRPr lang="de-DE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C0B5F8A-4FD1-C690-4183-6FFE606AA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38F7CE60-023A-9EF0-9C1B-B095405F25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7699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875420" y="1844824"/>
            <a:ext cx="50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6276020" y="1844824"/>
            <a:ext cx="50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1896C21A-8E67-FD29-8C36-BFED48EEEFC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CB2F951-32E4-DCA0-A220-C209C2A7EA70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058A8488-086B-46BE-B1A2-94B6A4FABF2C}" type="datetime1">
              <a:rPr lang="de-DE" smtClean="0"/>
              <a:t>10.10.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4C2FEEF9-9B76-8217-5B3D-FF4F173A2D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34E6321F-21AC-105F-2148-73EE173663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82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875420" y="1844824"/>
            <a:ext cx="5041193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6020" y="0"/>
            <a:ext cx="5915980" cy="6165850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0EF9331-D6B5-DA56-436A-C3F817B3CA66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407368" y="368660"/>
            <a:ext cx="5509245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38D7B79F-CA9B-6966-85EA-F426C8F9C5C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993C8A33-2154-4EAC-B0F4-4A3825342DBB}" type="datetime1">
              <a:rPr lang="de-DE" smtClean="0"/>
              <a:t>10.10.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5079953A-BF18-B386-ED87-972890058B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B17899D-BBB7-C0CC-E94B-70793C5450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Nr.›</a:t>
            </a:fld>
            <a:endParaRPr lang="de-DE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521EEA5C-08E7-CF61-1D6F-180D4CC2FF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460644" y="332656"/>
            <a:ext cx="432000" cy="4644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24ED65F1-D300-EF9F-6305-5CC2871A8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28700"/>
            <a:ext cx="5509245" cy="432000"/>
          </a:xfrm>
        </p:spPr>
        <p:txBody>
          <a:bodyPr/>
          <a:lstStyle/>
          <a:p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7268374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6276020" y="1844824"/>
            <a:ext cx="5041193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5915980" cy="6164824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0EF9331-D6B5-DA56-436A-C3F817B3CA66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6276019" y="368660"/>
            <a:ext cx="4680000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38D7B79F-CA9B-6966-85EA-F426C8F9C5C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FB57B3D-F73A-4243-AD29-E5F7DC1A92B6}" type="datetime1">
              <a:rPr lang="de-DE" smtClean="0"/>
              <a:pPr/>
              <a:t>10.10.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5079953A-BF18-B386-ED87-972890058B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B17899D-BBB7-C0CC-E94B-70793C5450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CDEA7D3-DC93-9702-E62A-BAA911ADA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76020" y="728700"/>
            <a:ext cx="4680000" cy="432000"/>
          </a:xfrm>
        </p:spPr>
        <p:txBody>
          <a:bodyPr/>
          <a:lstStyle/>
          <a:p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70794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3AE0E523-B1A2-9B59-4AD2-BE80EE9A002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B24920-AD94-4F7E-AD8B-426777405665}" type="datetime1">
              <a:rPr lang="de-DE" smtClean="0"/>
              <a:t>10.10.24</a:t>
            </a:fld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267ADFB-0EA5-5A6A-A6F5-F7F0B85600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9450C56-72F7-F09E-4435-D636CB62B1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27BBFA5-AD4F-CBBF-D7DD-51FF0146E3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460644" y="332656"/>
            <a:ext cx="432000" cy="4644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63018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B2BFFBD-5570-E446-1D96-8CE156FF795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D4441ED-D3CD-18FF-6950-4BEDD3B6495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9F6EFA60-EFC0-438E-8816-2E2DD4C3BBDE}" type="datetime1">
              <a:rPr lang="de-DE" smtClean="0"/>
              <a:t>10.10.24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8A668CB-F28E-694F-9E05-EEFD4705F5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AC7FF1F-79FC-9921-1959-E9D687599A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67608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dunkel">
    <p:bg>
      <p:bgPr>
        <a:solidFill>
          <a:srgbClr val="2E2D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B2BFFBD-5570-E446-1D96-8CE156FF795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inv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D4441ED-D3CD-18FF-6950-4BEDD3B6495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6EFA60-EFC0-438E-8816-2E2DD4C3BBDE}" type="datetime1">
              <a:rPr lang="de-DE" smtClean="0"/>
              <a:pPr/>
              <a:t>10.10.24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8A668CB-F28E-694F-9E05-EEFD4705F5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AC7FF1F-79FC-9921-1959-E9D687599A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15702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79292B-9030-FA8C-1312-2542D04AF6E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7E2F839-FE06-4235-A445-7C49644D6581}" type="datetime1">
              <a:rPr lang="de-DE" smtClean="0"/>
              <a:t>10.10.24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BE75CCB-1805-3AAA-8A18-D8C43550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860FCED-47BA-A117-C9BC-62A1B7716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069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04843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6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3DDBBA95-24E5-DFF8-AF34-A0FBD1264B8B}"/>
              </a:ext>
            </a:extLst>
          </p:cNvPr>
          <p:cNvSpPr>
            <a:spLocks/>
          </p:cNvSpPr>
          <p:nvPr userDrawn="1"/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9633 h 6453336"/>
              <a:gd name="connsiteX1" fmla="*/ 5915980 w 5915980"/>
              <a:gd name="connsiteY1" fmla="*/ 6018809 h 6453336"/>
              <a:gd name="connsiteX2" fmla="*/ 5889506 w 5915980"/>
              <a:gd name="connsiteY2" fmla="*/ 6037238 h 6453336"/>
              <a:gd name="connsiteX3" fmla="*/ 5503762 w 5915980"/>
              <a:gd name="connsiteY3" fmla="*/ 6305761 h 6453336"/>
              <a:gd name="connsiteX4" fmla="*/ 5503762 w 5915980"/>
              <a:gd name="connsiteY4" fmla="*/ 6401389 h 6453336"/>
              <a:gd name="connsiteX5" fmla="*/ 5503762 w 5915980"/>
              <a:gd name="connsiteY5" fmla="*/ 6453336 h 6453336"/>
              <a:gd name="connsiteX6" fmla="*/ 4366980 w 5915980"/>
              <a:gd name="connsiteY6" fmla="*/ 6453336 h 6453336"/>
              <a:gd name="connsiteX7" fmla="*/ 4366980 w 5915980"/>
              <a:gd name="connsiteY7" fmla="*/ 6390134 h 6453336"/>
              <a:gd name="connsiteX8" fmla="*/ 4366980 w 5915980"/>
              <a:gd name="connsiteY8" fmla="*/ 6003537 h 6453336"/>
              <a:gd name="connsiteX9" fmla="*/ 4608093 w 5915980"/>
              <a:gd name="connsiteY9" fmla="*/ 5540040 h 6453336"/>
              <a:gd name="connsiteX10" fmla="*/ 4707655 w 5915980"/>
              <a:gd name="connsiteY10" fmla="*/ 5471654 h 6453336"/>
              <a:gd name="connsiteX11" fmla="*/ 5576914 w 5915980"/>
              <a:gd name="connsiteY11" fmla="*/ 4871577 h 6453336"/>
              <a:gd name="connsiteX12" fmla="*/ 5865166 w 5915980"/>
              <a:gd name="connsiteY12" fmla="*/ 4583439 h 6453336"/>
              <a:gd name="connsiteX13" fmla="*/ 5507372 w 5915980"/>
              <a:gd name="connsiteY13" fmla="*/ 1160746 h 6453336"/>
              <a:gd name="connsiteX14" fmla="*/ 5849367 w 5915980"/>
              <a:gd name="connsiteY14" fmla="*/ 1196089 h 6453336"/>
              <a:gd name="connsiteX15" fmla="*/ 5915980 w 5915980"/>
              <a:gd name="connsiteY15" fmla="*/ 1213384 h 6453336"/>
              <a:gd name="connsiteX16" fmla="*/ 5915980 w 5915980"/>
              <a:gd name="connsiteY16" fmla="*/ 2482794 h 6453336"/>
              <a:gd name="connsiteX17" fmla="*/ 5890938 w 5915980"/>
              <a:gd name="connsiteY17" fmla="*/ 2453316 h 6453336"/>
              <a:gd name="connsiteX18" fmla="*/ 5179430 w 5915980"/>
              <a:gd name="connsiteY18" fmla="*/ 2396994 h 6453336"/>
              <a:gd name="connsiteX19" fmla="*/ 1909305 w 5915980"/>
              <a:gd name="connsiteY19" fmla="*/ 4659583 h 6453336"/>
              <a:gd name="connsiteX20" fmla="*/ 1830454 w 5915980"/>
              <a:gd name="connsiteY20" fmla="*/ 4682759 h 6453336"/>
              <a:gd name="connsiteX21" fmla="*/ 1695931 w 5915980"/>
              <a:gd name="connsiteY21" fmla="*/ 4543709 h 6453336"/>
              <a:gd name="connsiteX22" fmla="*/ 1695931 w 5915980"/>
              <a:gd name="connsiteY22" fmla="*/ 3720051 h 6453336"/>
              <a:gd name="connsiteX23" fmla="*/ 1938185 w 5915980"/>
              <a:gd name="connsiteY23" fmla="*/ 3256553 h 6453336"/>
              <a:gd name="connsiteX24" fmla="*/ 4533992 w 5915980"/>
              <a:gd name="connsiteY24" fmla="*/ 1465438 h 6453336"/>
              <a:gd name="connsiteX25" fmla="*/ 5507372 w 5915980"/>
              <a:gd name="connsiteY25" fmla="*/ 1160746 h 6453336"/>
              <a:gd name="connsiteX26" fmla="*/ 2704404 w 5915980"/>
              <a:gd name="connsiteY26" fmla="*/ 0 h 6453336"/>
              <a:gd name="connsiteX27" fmla="*/ 2835302 w 5915980"/>
              <a:gd name="connsiteY27" fmla="*/ 140205 h 6453336"/>
              <a:gd name="connsiteX28" fmla="*/ 2835302 w 5915980"/>
              <a:gd name="connsiteY28" fmla="*/ 1649979 h 6453336"/>
              <a:gd name="connsiteX29" fmla="*/ 2594214 w 5915980"/>
              <a:gd name="connsiteY29" fmla="*/ 2113530 h 6453336"/>
              <a:gd name="connsiteX30" fmla="*/ 1622074 w 5915980"/>
              <a:gd name="connsiteY30" fmla="*/ 2785490 h 6453336"/>
              <a:gd name="connsiteX31" fmla="*/ 1131919 w 5915980"/>
              <a:gd name="connsiteY31" fmla="*/ 3712403 h 6453336"/>
              <a:gd name="connsiteX32" fmla="*/ 1131919 w 5915980"/>
              <a:gd name="connsiteY32" fmla="*/ 4802700 h 6453336"/>
              <a:gd name="connsiteX33" fmla="*/ 1231660 w 5915980"/>
              <a:gd name="connsiteY33" fmla="*/ 5122437 h 6453336"/>
              <a:gd name="connsiteX34" fmla="*/ 2017238 w 5915980"/>
              <a:gd name="connsiteY34" fmla="*/ 5266251 h 6453336"/>
              <a:gd name="connsiteX35" fmla="*/ 5287026 w 5915980"/>
              <a:gd name="connsiteY35" fmla="*/ 3004537 h 6453336"/>
              <a:gd name="connsiteX36" fmla="*/ 5367009 w 5915980"/>
              <a:gd name="connsiteY36" fmla="*/ 2981360 h 6453336"/>
              <a:gd name="connsiteX37" fmla="*/ 5499048 w 5915980"/>
              <a:gd name="connsiteY37" fmla="*/ 3120424 h 6453336"/>
              <a:gd name="connsiteX38" fmla="*/ 5499048 w 5915980"/>
              <a:gd name="connsiteY38" fmla="*/ 3944180 h 6453336"/>
              <a:gd name="connsiteX39" fmla="*/ 5257960 w 5915980"/>
              <a:gd name="connsiteY39" fmla="*/ 4407541 h 6453336"/>
              <a:gd name="connsiteX40" fmla="*/ 2664887 w 5915980"/>
              <a:gd name="connsiteY40" fmla="*/ 6197724 h 6453336"/>
              <a:gd name="connsiteX41" fmla="*/ 2203040 w 5915980"/>
              <a:gd name="connsiteY41" fmla="*/ 6422827 h 6453336"/>
              <a:gd name="connsiteX42" fmla="*/ 2090428 w 5915980"/>
              <a:gd name="connsiteY42" fmla="*/ 6453336 h 6453336"/>
              <a:gd name="connsiteX43" fmla="*/ 1306922 w 5915980"/>
              <a:gd name="connsiteY43" fmla="*/ 6453336 h 6453336"/>
              <a:gd name="connsiteX44" fmla="*/ 1190422 w 5915980"/>
              <a:gd name="connsiteY44" fmla="*/ 6423213 h 6453336"/>
              <a:gd name="connsiteX45" fmla="*/ 2 w 5915980"/>
              <a:gd name="connsiteY45" fmla="*/ 4800420 h 6453336"/>
              <a:gd name="connsiteX46" fmla="*/ 2 w 5915980"/>
              <a:gd name="connsiteY46" fmla="*/ 3579227 h 6453336"/>
              <a:gd name="connsiteX47" fmla="*/ 865563 w 5915980"/>
              <a:gd name="connsiteY47" fmla="*/ 1938559 h 6453336"/>
              <a:gd name="connsiteX48" fmla="*/ 1699777 w 5915980"/>
              <a:gd name="connsiteY48" fmla="*/ 1359118 h 6453336"/>
              <a:gd name="connsiteX49" fmla="*/ 1699777 w 5915980"/>
              <a:gd name="connsiteY49" fmla="*/ 963010 h 6453336"/>
              <a:gd name="connsiteX50" fmla="*/ 1940674 w 5915980"/>
              <a:gd name="connsiteY50" fmla="*/ 499458 h 6453336"/>
              <a:gd name="connsiteX51" fmla="*/ 2621952 w 5915980"/>
              <a:gd name="connsiteY51" fmla="*/ 24318 h 6453336"/>
              <a:gd name="connsiteX52" fmla="*/ 2704404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9633"/>
                </a:moveTo>
                <a:lnTo>
                  <a:pt x="5915980" y="6018809"/>
                </a:lnTo>
                <a:lnTo>
                  <a:pt x="5889506" y="6037238"/>
                </a:lnTo>
                <a:cubicBezTo>
                  <a:pt x="5786519" y="6108929"/>
                  <a:pt x="5659766" y="6197164"/>
                  <a:pt x="5503762" y="6305761"/>
                </a:cubicBezTo>
                <a:cubicBezTo>
                  <a:pt x="5503762" y="6305761"/>
                  <a:pt x="5503762" y="6305761"/>
                  <a:pt x="5503762" y="6401389"/>
                </a:cubicBezTo>
                <a:lnTo>
                  <a:pt x="5503762" y="6453336"/>
                </a:lnTo>
                <a:lnTo>
                  <a:pt x="4366980" y="6453336"/>
                </a:lnTo>
                <a:lnTo>
                  <a:pt x="4366980" y="6390134"/>
                </a:lnTo>
                <a:cubicBezTo>
                  <a:pt x="4366980" y="6273726"/>
                  <a:pt x="4366980" y="6145276"/>
                  <a:pt x="4366980" y="6003537"/>
                </a:cubicBezTo>
                <a:cubicBezTo>
                  <a:pt x="4365841" y="5818137"/>
                  <a:pt x="4456282" y="5645466"/>
                  <a:pt x="4608093" y="5540040"/>
                </a:cubicBezTo>
                <a:cubicBezTo>
                  <a:pt x="4608093" y="5540040"/>
                  <a:pt x="4608093" y="5540040"/>
                  <a:pt x="4707655" y="5471654"/>
                </a:cubicBezTo>
                <a:cubicBezTo>
                  <a:pt x="4707655" y="5471654"/>
                  <a:pt x="4707655" y="5471654"/>
                  <a:pt x="5576914" y="4871577"/>
                </a:cubicBezTo>
                <a:cubicBezTo>
                  <a:pt x="5691201" y="4792506"/>
                  <a:pt x="5788360" y="4694551"/>
                  <a:pt x="5865166" y="4583439"/>
                </a:cubicBezTo>
                <a:close/>
                <a:moveTo>
                  <a:pt x="5507372" y="1160746"/>
                </a:moveTo>
                <a:cubicBezTo>
                  <a:pt x="5624556" y="1161054"/>
                  <a:pt x="5738932" y="1173215"/>
                  <a:pt x="5849367" y="1196089"/>
                </a:cubicBezTo>
                <a:lnTo>
                  <a:pt x="5915980" y="1213384"/>
                </a:lnTo>
                <a:lnTo>
                  <a:pt x="5915980" y="2482794"/>
                </a:lnTo>
                <a:lnTo>
                  <a:pt x="5890938" y="2453316"/>
                </a:lnTo>
                <a:cubicBezTo>
                  <a:pt x="5701253" y="2271253"/>
                  <a:pt x="5403537" y="2241917"/>
                  <a:pt x="5179430" y="2396994"/>
                </a:cubicBezTo>
                <a:cubicBezTo>
                  <a:pt x="5179430" y="2396994"/>
                  <a:pt x="5179430" y="2396994"/>
                  <a:pt x="1909305" y="4659583"/>
                </a:cubicBezTo>
                <a:cubicBezTo>
                  <a:pt x="1886124" y="4674591"/>
                  <a:pt x="1858194" y="4682759"/>
                  <a:pt x="1830454" y="4682759"/>
                </a:cubicBezTo>
                <a:cubicBezTo>
                  <a:pt x="1755213" y="4681619"/>
                  <a:pt x="1694792" y="4618933"/>
                  <a:pt x="1695931" y="4543709"/>
                </a:cubicBezTo>
                <a:cubicBezTo>
                  <a:pt x="1695931" y="4543709"/>
                  <a:pt x="1695931" y="4543709"/>
                  <a:pt x="1695931" y="3720051"/>
                </a:cubicBezTo>
                <a:cubicBezTo>
                  <a:pt x="1694792" y="3534652"/>
                  <a:pt x="1785233" y="3361980"/>
                  <a:pt x="1938185" y="3256553"/>
                </a:cubicBezTo>
                <a:cubicBezTo>
                  <a:pt x="1938185" y="3256553"/>
                  <a:pt x="1938185" y="3256553"/>
                  <a:pt x="4533992" y="1465438"/>
                </a:cubicBezTo>
                <a:cubicBezTo>
                  <a:pt x="4820136" y="1266173"/>
                  <a:pt x="5159669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8" y="2471"/>
                  <a:pt x="2837582" y="64973"/>
                  <a:pt x="2835302" y="140205"/>
                </a:cubicBezTo>
                <a:cubicBezTo>
                  <a:pt x="2835302" y="140205"/>
                  <a:pt x="2835302" y="140205"/>
                  <a:pt x="2835302" y="1649979"/>
                </a:cubicBezTo>
                <a:cubicBezTo>
                  <a:pt x="2836442" y="1835399"/>
                  <a:pt x="2747150" y="2009232"/>
                  <a:pt x="2594214" y="2113530"/>
                </a:cubicBezTo>
                <a:cubicBezTo>
                  <a:pt x="2594214" y="2113530"/>
                  <a:pt x="2594214" y="2113530"/>
                  <a:pt x="1622074" y="2785490"/>
                </a:cubicBezTo>
                <a:cubicBezTo>
                  <a:pt x="1316202" y="2995228"/>
                  <a:pt x="1133058" y="3341753"/>
                  <a:pt x="1131919" y="3712403"/>
                </a:cubicBezTo>
                <a:cubicBezTo>
                  <a:pt x="1131919" y="3712403"/>
                  <a:pt x="1131919" y="3712403"/>
                  <a:pt x="1131919" y="4802700"/>
                </a:cubicBezTo>
                <a:cubicBezTo>
                  <a:pt x="1131919" y="4916308"/>
                  <a:pt x="1166686" y="5028586"/>
                  <a:pt x="1231660" y="5122437"/>
                </a:cubicBezTo>
                <a:cubicBezTo>
                  <a:pt x="1408913" y="5379670"/>
                  <a:pt x="1761141" y="5443503"/>
                  <a:pt x="2017238" y="5266251"/>
                </a:cubicBezTo>
                <a:cubicBezTo>
                  <a:pt x="2017238" y="5266251"/>
                  <a:pt x="2017238" y="5266251"/>
                  <a:pt x="5287026" y="3004537"/>
                </a:cubicBezTo>
                <a:cubicBezTo>
                  <a:pt x="5310204" y="2988199"/>
                  <a:pt x="5337942" y="2981360"/>
                  <a:pt x="5367009" y="2981360"/>
                </a:cubicBezTo>
                <a:cubicBezTo>
                  <a:pt x="5442242" y="2983639"/>
                  <a:pt x="5501327" y="3045003"/>
                  <a:pt x="5499048" y="3120424"/>
                </a:cubicBezTo>
                <a:cubicBezTo>
                  <a:pt x="5499048" y="3120424"/>
                  <a:pt x="5499048" y="3120424"/>
                  <a:pt x="5499048" y="3944180"/>
                </a:cubicBezTo>
                <a:cubicBezTo>
                  <a:pt x="5500187" y="4128460"/>
                  <a:pt x="5409756" y="4302102"/>
                  <a:pt x="5257960" y="4407541"/>
                </a:cubicBezTo>
                <a:cubicBezTo>
                  <a:pt x="5257960" y="4407541"/>
                  <a:pt x="5257960" y="4407541"/>
                  <a:pt x="2664887" y="6197724"/>
                </a:cubicBezTo>
                <a:cubicBezTo>
                  <a:pt x="2522401" y="6296228"/>
                  <a:pt x="2366568" y="6371841"/>
                  <a:pt x="2203040" y="6422827"/>
                </a:cubicBezTo>
                <a:lnTo>
                  <a:pt x="2090428" y="6453336"/>
                </a:lnTo>
                <a:lnTo>
                  <a:pt x="1306922" y="6453336"/>
                </a:lnTo>
                <a:lnTo>
                  <a:pt x="1190422" y="6423213"/>
                </a:lnTo>
                <a:cubicBezTo>
                  <a:pt x="499824" y="6207373"/>
                  <a:pt x="-924" y="5562027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3" y="2923416"/>
                  <a:pt x="325633" y="2310539"/>
                  <a:pt x="865563" y="1938559"/>
                </a:cubicBezTo>
                <a:cubicBezTo>
                  <a:pt x="865563" y="1938559"/>
                  <a:pt x="865563" y="1938559"/>
                  <a:pt x="1699777" y="1359118"/>
                </a:cubicBezTo>
                <a:cubicBezTo>
                  <a:pt x="1699777" y="1359118"/>
                  <a:pt x="1699777" y="1359118"/>
                  <a:pt x="1699777" y="963010"/>
                </a:cubicBezTo>
                <a:cubicBezTo>
                  <a:pt x="1698636" y="778729"/>
                  <a:pt x="1788878" y="604898"/>
                  <a:pt x="1940674" y="499458"/>
                </a:cubicBezTo>
                <a:cubicBezTo>
                  <a:pt x="1940674" y="499458"/>
                  <a:pt x="1940674" y="499458"/>
                  <a:pt x="2621952" y="24318"/>
                </a:cubicBezTo>
                <a:cubicBezTo>
                  <a:pt x="2646459" y="7029"/>
                  <a:pt x="2675337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 rot="5400000">
            <a:off x="1703904" y="3752644"/>
            <a:ext cx="1584000" cy="3240968"/>
          </a:xfrm>
          <a:prstGeom prst="bracketPair">
            <a:avLst>
              <a:gd name="adj" fmla="val 0"/>
            </a:avLst>
          </a:prstGeom>
          <a:ln w="25400">
            <a:gradFill flip="none" rotWithShape="1">
              <a:gsLst>
                <a:gs pos="49000">
                  <a:schemeClr val="tx1"/>
                </a:gs>
                <a:gs pos="51000">
                  <a:schemeClr val="tx1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vert270" lIns="180000" r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9pPr>
          </a:lstStyle>
          <a:p>
            <a:r>
              <a:rPr lang="de-DE"/>
              <a:t>Kontaktanga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10440000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Schlusswort</a:t>
            </a:r>
          </a:p>
        </p:txBody>
      </p:sp>
    </p:spTree>
    <p:extLst>
      <p:ext uri="{BB962C8B-B14F-4D97-AF65-F5344CB8AC3E}">
        <p14:creationId xmlns:p14="http://schemas.microsoft.com/office/powerpoint/2010/main" val="22204529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328472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6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96279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6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756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1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4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453781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1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4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437623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45167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9" y="4571876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9" y="457187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23281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9" y="379073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9" y="379073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01395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9" y="300959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9" y="300959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7" y="-279509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9" y="222845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9" y="222845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7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9" y="144731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9" y="144731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2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569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54809" y="6163144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5569" y="-3828206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169699" y="1286032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54811" y="1286032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2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42" name="Agendapunkt Nummer">
            <a:extLst>
              <a:ext uri="{FF2B5EF4-FFF2-40B4-BE49-F238E27FC236}">
                <a16:creationId xmlns:a16="http://schemas.microsoft.com/office/drawing/2014/main" id="{32692945-7297-4B26-BF0D-91C423AA60EC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5569" y="-3179859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3" name="Zeit">
            <a:extLst>
              <a:ext uri="{FF2B5EF4-FFF2-40B4-BE49-F238E27FC236}">
                <a16:creationId xmlns:a16="http://schemas.microsoft.com/office/drawing/2014/main" id="{C87DC8AD-13F6-44A7-A27C-E8700E4A4B6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>
            <a:off x="9169699" y="1934379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44" name="Agendapunkt Text">
            <a:extLst>
              <a:ext uri="{FF2B5EF4-FFF2-40B4-BE49-F238E27FC236}">
                <a16:creationId xmlns:a16="http://schemas.microsoft.com/office/drawing/2014/main" id="{ACF95C4E-F86B-4E9B-9976-33D8206FF91C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854811" y="1934379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45" name="Agendapunkt Nummer">
            <a:extLst>
              <a:ext uri="{FF2B5EF4-FFF2-40B4-BE49-F238E27FC236}">
                <a16:creationId xmlns:a16="http://schemas.microsoft.com/office/drawing/2014/main" id="{EF82875B-FE29-4D16-8CF2-09988CE9CA84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 rot="5400000" flipH="1">
            <a:off x="6015569" y="-2533284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6" name="Zeit">
            <a:extLst>
              <a:ext uri="{FF2B5EF4-FFF2-40B4-BE49-F238E27FC236}">
                <a16:creationId xmlns:a16="http://schemas.microsoft.com/office/drawing/2014/main" id="{DD8C439A-7A7F-432D-854E-D3C5E0AC95E9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9169699" y="2580953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47" name="Agendapunkt Text">
            <a:extLst>
              <a:ext uri="{FF2B5EF4-FFF2-40B4-BE49-F238E27FC236}">
                <a16:creationId xmlns:a16="http://schemas.microsoft.com/office/drawing/2014/main" id="{8154BF32-AA1E-461B-89B5-75C6D89CEBDE}"/>
              </a:ext>
            </a:extLst>
          </p:cNvPr>
          <p:cNvSpPr>
            <a:spLocks noGrp="1"/>
          </p:cNvSpPr>
          <p:nvPr>
            <p:ph type="body" orient="vert" idx="36" hasCustomPrompt="1"/>
          </p:nvPr>
        </p:nvSpPr>
        <p:spPr>
          <a:xfrm>
            <a:off x="1854811" y="2580953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48" name="Agendapunkt Nummer">
            <a:extLst>
              <a:ext uri="{FF2B5EF4-FFF2-40B4-BE49-F238E27FC236}">
                <a16:creationId xmlns:a16="http://schemas.microsoft.com/office/drawing/2014/main" id="{49009361-837C-4B2D-8C2B-0AE538F0CC41}"/>
              </a:ext>
            </a:extLst>
          </p:cNvPr>
          <p:cNvSpPr>
            <a:spLocks noGrp="1"/>
          </p:cNvSpPr>
          <p:nvPr>
            <p:ph type="body" orient="vert" idx="37" hasCustomPrompt="1"/>
          </p:nvPr>
        </p:nvSpPr>
        <p:spPr>
          <a:xfrm rot="5400000" flipH="1">
            <a:off x="6015569" y="-1884937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9" name="Zeit">
            <a:extLst>
              <a:ext uri="{FF2B5EF4-FFF2-40B4-BE49-F238E27FC236}">
                <a16:creationId xmlns:a16="http://schemas.microsoft.com/office/drawing/2014/main" id="{64076A99-D9FF-41F3-836B-859FA50BAE92}"/>
              </a:ext>
            </a:extLst>
          </p:cNvPr>
          <p:cNvSpPr>
            <a:spLocks noGrp="1"/>
          </p:cNvSpPr>
          <p:nvPr>
            <p:ph type="body" orient="vert" idx="38" hasCustomPrompt="1"/>
          </p:nvPr>
        </p:nvSpPr>
        <p:spPr>
          <a:xfrm>
            <a:off x="9169699" y="3229300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0" name="Agendapunkt Text">
            <a:extLst>
              <a:ext uri="{FF2B5EF4-FFF2-40B4-BE49-F238E27FC236}">
                <a16:creationId xmlns:a16="http://schemas.microsoft.com/office/drawing/2014/main" id="{D793A4FA-75AB-4036-BF71-963CF505AB97}"/>
              </a:ext>
            </a:extLst>
          </p:cNvPr>
          <p:cNvSpPr>
            <a:spLocks noGrp="1"/>
          </p:cNvSpPr>
          <p:nvPr>
            <p:ph type="body" orient="vert" idx="39" hasCustomPrompt="1"/>
          </p:nvPr>
        </p:nvSpPr>
        <p:spPr>
          <a:xfrm>
            <a:off x="1854811" y="3229300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1" name="Agendapunkt Nummer">
            <a:extLst>
              <a:ext uri="{FF2B5EF4-FFF2-40B4-BE49-F238E27FC236}">
                <a16:creationId xmlns:a16="http://schemas.microsoft.com/office/drawing/2014/main" id="{146CB420-6059-4851-9F48-7E4AD09380D2}"/>
              </a:ext>
            </a:extLst>
          </p:cNvPr>
          <p:cNvSpPr>
            <a:spLocks noGrp="1"/>
          </p:cNvSpPr>
          <p:nvPr>
            <p:ph type="body" orient="vert" idx="40" hasCustomPrompt="1"/>
          </p:nvPr>
        </p:nvSpPr>
        <p:spPr>
          <a:xfrm rot="5400000" flipH="1">
            <a:off x="6015569" y="-1332138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2" name="Zeit">
            <a:extLst>
              <a:ext uri="{FF2B5EF4-FFF2-40B4-BE49-F238E27FC236}">
                <a16:creationId xmlns:a16="http://schemas.microsoft.com/office/drawing/2014/main" id="{CBC21C2E-D2F4-451D-A5AA-6168C8D9DCE5}"/>
              </a:ext>
            </a:extLst>
          </p:cNvPr>
          <p:cNvSpPr>
            <a:spLocks noGrp="1"/>
          </p:cNvSpPr>
          <p:nvPr>
            <p:ph type="body" orient="vert" idx="41" hasCustomPrompt="1"/>
          </p:nvPr>
        </p:nvSpPr>
        <p:spPr>
          <a:xfrm>
            <a:off x="9169699" y="3782100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3" name="Agendapunkt Text">
            <a:extLst>
              <a:ext uri="{FF2B5EF4-FFF2-40B4-BE49-F238E27FC236}">
                <a16:creationId xmlns:a16="http://schemas.microsoft.com/office/drawing/2014/main" id="{38C9B053-96F3-42D2-96EC-11A075728AC9}"/>
              </a:ext>
            </a:extLst>
          </p:cNvPr>
          <p:cNvSpPr>
            <a:spLocks noGrp="1"/>
          </p:cNvSpPr>
          <p:nvPr>
            <p:ph type="body" orient="vert" idx="42" hasCustomPrompt="1"/>
          </p:nvPr>
        </p:nvSpPr>
        <p:spPr>
          <a:xfrm>
            <a:off x="1854811" y="3782100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4" name="Agendapunkt Nummer">
            <a:extLst>
              <a:ext uri="{FF2B5EF4-FFF2-40B4-BE49-F238E27FC236}">
                <a16:creationId xmlns:a16="http://schemas.microsoft.com/office/drawing/2014/main" id="{DDDF3D71-6EAC-490D-98B8-058839E0A126}"/>
              </a:ext>
            </a:extLst>
          </p:cNvPr>
          <p:cNvSpPr>
            <a:spLocks noGrp="1"/>
          </p:cNvSpPr>
          <p:nvPr>
            <p:ph type="body" orient="vert" idx="43" hasCustomPrompt="1"/>
          </p:nvPr>
        </p:nvSpPr>
        <p:spPr>
          <a:xfrm rot="5400000" flipH="1">
            <a:off x="6015569" y="-683791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5" name="Zeit">
            <a:extLst>
              <a:ext uri="{FF2B5EF4-FFF2-40B4-BE49-F238E27FC236}">
                <a16:creationId xmlns:a16="http://schemas.microsoft.com/office/drawing/2014/main" id="{84DACA69-CC98-4904-AAC2-3E2004452A76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9169699" y="4430447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6" name="Agendapunkt Text">
            <a:extLst>
              <a:ext uri="{FF2B5EF4-FFF2-40B4-BE49-F238E27FC236}">
                <a16:creationId xmlns:a16="http://schemas.microsoft.com/office/drawing/2014/main" id="{80640CE2-6AF5-4E94-8BDB-A818D3B3176A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854811" y="4430447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7" name="Agendapunkt Nummer">
            <a:extLst>
              <a:ext uri="{FF2B5EF4-FFF2-40B4-BE49-F238E27FC236}">
                <a16:creationId xmlns:a16="http://schemas.microsoft.com/office/drawing/2014/main" id="{59ABBC44-22C7-4170-A810-3D375A599032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 rot="5400000" flipH="1">
            <a:off x="6015569" y="-37216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8" name="Zeit">
            <a:extLst>
              <a:ext uri="{FF2B5EF4-FFF2-40B4-BE49-F238E27FC236}">
                <a16:creationId xmlns:a16="http://schemas.microsoft.com/office/drawing/2014/main" id="{68B14D37-6AE3-4238-84A1-F76BF6C9972D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9169699" y="5077021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9" name="Agendapunkt Text">
            <a:extLst>
              <a:ext uri="{FF2B5EF4-FFF2-40B4-BE49-F238E27FC236}">
                <a16:creationId xmlns:a16="http://schemas.microsoft.com/office/drawing/2014/main" id="{21DAB97D-5C8D-45B5-948F-2BA46BA0513B}"/>
              </a:ext>
            </a:extLst>
          </p:cNvPr>
          <p:cNvSpPr>
            <a:spLocks noGrp="1"/>
          </p:cNvSpPr>
          <p:nvPr>
            <p:ph type="body" orient="vert" idx="48" hasCustomPrompt="1"/>
          </p:nvPr>
        </p:nvSpPr>
        <p:spPr>
          <a:xfrm>
            <a:off x="1854811" y="5077021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60" name="Agendapunkt Nummer">
            <a:extLst>
              <a:ext uri="{FF2B5EF4-FFF2-40B4-BE49-F238E27FC236}">
                <a16:creationId xmlns:a16="http://schemas.microsoft.com/office/drawing/2014/main" id="{E1211610-196E-4F0F-BEC5-1C1DC3315510}"/>
              </a:ext>
            </a:extLst>
          </p:cNvPr>
          <p:cNvSpPr>
            <a:spLocks noGrp="1"/>
          </p:cNvSpPr>
          <p:nvPr>
            <p:ph type="body" orient="vert" idx="49" hasCustomPrompt="1"/>
          </p:nvPr>
        </p:nvSpPr>
        <p:spPr>
          <a:xfrm rot="5400000" flipH="1">
            <a:off x="6015569" y="611131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61" name="Zeit">
            <a:extLst>
              <a:ext uri="{FF2B5EF4-FFF2-40B4-BE49-F238E27FC236}">
                <a16:creationId xmlns:a16="http://schemas.microsoft.com/office/drawing/2014/main" id="{1CA73C7A-5A3E-49F3-928E-6360DDFDD149}"/>
              </a:ext>
            </a:extLst>
          </p:cNvPr>
          <p:cNvSpPr>
            <a:spLocks noGrp="1"/>
          </p:cNvSpPr>
          <p:nvPr>
            <p:ph type="body" orient="vert" idx="50" hasCustomPrompt="1"/>
          </p:nvPr>
        </p:nvSpPr>
        <p:spPr>
          <a:xfrm>
            <a:off x="9169699" y="5725368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62" name="Agendapunkt Text">
            <a:extLst>
              <a:ext uri="{FF2B5EF4-FFF2-40B4-BE49-F238E27FC236}">
                <a16:creationId xmlns:a16="http://schemas.microsoft.com/office/drawing/2014/main" id="{0744823D-487A-4B4A-9095-691623D3B5C8}"/>
              </a:ext>
            </a:extLst>
          </p:cNvPr>
          <p:cNvSpPr>
            <a:spLocks noGrp="1"/>
          </p:cNvSpPr>
          <p:nvPr>
            <p:ph type="body" orient="vert" idx="51" hasCustomPrompt="1"/>
          </p:nvPr>
        </p:nvSpPr>
        <p:spPr>
          <a:xfrm>
            <a:off x="1854811" y="5725368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4154216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467637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9467634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46763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1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6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7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1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2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24348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388675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4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395086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4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841009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10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73135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1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727838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2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1" y="-448297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0002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9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0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79833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9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0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309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3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49230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3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4413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175114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2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274696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2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225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_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9560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33157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4326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8078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12611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0.sv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oleObject" Target="../embeddings/oleObject15.bin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ags" Target="../tags/tag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173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28748"/>
            <a:ext cx="10009084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Folien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875480" y="1844824"/>
            <a:ext cx="10441808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37C5036-3761-BA58-A419-B01B375619CD}"/>
              </a:ext>
            </a:extLst>
          </p:cNvPr>
          <p:cNvGrpSpPr/>
          <p:nvPr userDrawn="1"/>
        </p:nvGrpSpPr>
        <p:grpSpPr bwMode="gray">
          <a:xfrm>
            <a:off x="4115820" y="-171400"/>
            <a:ext cx="360000" cy="72000"/>
            <a:chOff x="4007768" y="-171400"/>
            <a:chExt cx="288032" cy="72000"/>
          </a:xfrm>
        </p:grpSpPr>
        <p:cxnSp>
          <p:nvCxnSpPr>
            <p:cNvPr id="14" name="Gerader Verbinder 13"/>
            <p:cNvCxnSpPr/>
            <p:nvPr userDrawn="1"/>
          </p:nvCxnSpPr>
          <p:spPr bwMode="gray">
            <a:xfrm>
              <a:off x="40077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 userDrawn="1"/>
          </p:nvCxnSpPr>
          <p:spPr bwMode="gray">
            <a:xfrm>
              <a:off x="42958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0CAB556-1AC4-AE84-7D5D-6EEA00A44F1C}"/>
              </a:ext>
            </a:extLst>
          </p:cNvPr>
          <p:cNvGrpSpPr/>
          <p:nvPr userDrawn="1"/>
        </p:nvGrpSpPr>
        <p:grpSpPr bwMode="gray">
          <a:xfrm>
            <a:off x="5915980" y="-171400"/>
            <a:ext cx="360000" cy="72000"/>
            <a:chOff x="5951984" y="-171400"/>
            <a:chExt cx="288032" cy="72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5951984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624001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AA222AA-2254-0843-E76A-48202474548D}"/>
              </a:ext>
            </a:extLst>
          </p:cNvPr>
          <p:cNvGrpSpPr/>
          <p:nvPr userDrawn="1"/>
        </p:nvGrpSpPr>
        <p:grpSpPr bwMode="gray">
          <a:xfrm>
            <a:off x="7716180" y="-171400"/>
            <a:ext cx="360000" cy="72000"/>
            <a:chOff x="7896200" y="-171400"/>
            <a:chExt cx="288032" cy="72000"/>
          </a:xfrm>
        </p:grpSpPr>
        <p:cxnSp>
          <p:nvCxnSpPr>
            <p:cNvPr id="18" name="Gerader Verbinder 17"/>
            <p:cNvCxnSpPr/>
            <p:nvPr userDrawn="1"/>
          </p:nvCxnSpPr>
          <p:spPr bwMode="gray">
            <a:xfrm>
              <a:off x="78962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>
              <a:off x="81842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AB95106-ED32-023C-EEEC-8DBE6AE464C0}"/>
              </a:ext>
            </a:extLst>
          </p:cNvPr>
          <p:cNvGrpSpPr/>
          <p:nvPr userDrawn="1"/>
        </p:nvGrpSpPr>
        <p:grpSpPr bwMode="gray">
          <a:xfrm>
            <a:off x="407368" y="-171400"/>
            <a:ext cx="11377264" cy="72000"/>
            <a:chOff x="407368" y="-171400"/>
            <a:chExt cx="11377264" cy="72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-168688" y="1845312"/>
            <a:ext cx="72000" cy="4320000"/>
            <a:chOff x="-456728" y="1628800"/>
            <a:chExt cx="216000" cy="4536504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6288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16530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Datumsplatzhalter 55">
            <a:extLst>
              <a:ext uri="{FF2B5EF4-FFF2-40B4-BE49-F238E27FC236}">
                <a16:creationId xmlns:a16="http://schemas.microsoft.com/office/drawing/2014/main" id="{6F5EB3A3-AAD3-71E9-2147-B75477A8C30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75420" y="6345324"/>
            <a:ext cx="504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2FCA0ED-13F5-44C3-BE32-2EFC0EFC49EA}" type="datetime1">
              <a:rPr lang="de-DE" smtClean="0"/>
              <a:t>10.10.24</a:t>
            </a:fld>
            <a:endParaRPr lang="de-DE"/>
          </a:p>
        </p:txBody>
      </p:sp>
      <p:sp>
        <p:nvSpPr>
          <p:cNvPr id="57" name="Fußzeilenplatzhalter 56">
            <a:extLst>
              <a:ext uri="{FF2B5EF4-FFF2-40B4-BE49-F238E27FC236}">
                <a16:creationId xmlns:a16="http://schemas.microsoft.com/office/drawing/2014/main" id="{4284088D-38C4-41C9-1576-C03176B45F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75420" y="6489340"/>
            <a:ext cx="504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58" name="Foliennummernplatzhalter 57">
            <a:extLst>
              <a:ext uri="{FF2B5EF4-FFF2-40B4-BE49-F238E27FC236}">
                <a16:creationId xmlns:a16="http://schemas.microsoft.com/office/drawing/2014/main" id="{7DF2E735-87C5-169F-F829-5D9C7740E9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07368" y="6345324"/>
            <a:ext cx="396000" cy="288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DBF0D824-7996-C471-5F9F-E86007B0016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 bwMode="gray">
          <a:xfrm>
            <a:off x="11460644" y="332656"/>
            <a:ext cx="432000" cy="462858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96A82DB-621C-BABD-C922-33E195368EC8}"/>
              </a:ext>
            </a:extLst>
          </p:cNvPr>
          <p:cNvGrpSpPr/>
          <p:nvPr userDrawn="1"/>
        </p:nvGrpSpPr>
        <p:grpSpPr bwMode="gray">
          <a:xfrm>
            <a:off x="875420" y="-171400"/>
            <a:ext cx="10440000" cy="72000"/>
            <a:chOff x="407368" y="-171400"/>
            <a:chExt cx="11377264" cy="72000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3BF1F312-BDDE-E847-EF65-4761F18513FB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55866DA7-AE2D-99AA-0AEB-43A8494970BA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279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  <p:sldLayoutId id="2147484148" r:id="rId12"/>
    <p:sldLayoutId id="2147484150" r:id="rId13"/>
    <p:sldLayoutId id="2147484149" r:id="rId14"/>
    <p:sldLayoutId id="2147484193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bg2"/>
        </a:buClr>
        <a:buFont typeface="Wingdings 2" panose="05020102010507070707" pitchFamily="18" charset="2"/>
        <a:buChar char="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5" pos="7423">
          <p15:clr>
            <a:srgbClr val="A4A3A4"/>
          </p15:clr>
        </p15:guide>
        <p15:guide id="10" orient="horz" pos="1162">
          <p15:clr>
            <a:srgbClr val="F26B43"/>
          </p15:clr>
        </p15:guide>
        <p15:guide id="11" orient="horz" pos="3884">
          <p15:clr>
            <a:srgbClr val="F26B43"/>
          </p15:clr>
        </p15:guide>
        <p15:guide id="12" pos="551">
          <p15:clr>
            <a:srgbClr val="F26B43"/>
          </p15:clr>
        </p15:guide>
        <p15:guide id="13" pos="7129">
          <p15:clr>
            <a:srgbClr val="F26B43"/>
          </p15:clr>
        </p15:guide>
        <p15:guide id="14" pos="3727">
          <p15:clr>
            <a:srgbClr val="F26B43"/>
          </p15:clr>
        </p15:guide>
        <p15:guide id="15" pos="3953">
          <p15:clr>
            <a:srgbClr val="F26B43"/>
          </p15:clr>
        </p15:guide>
        <p15:guide id="16" orient="horz" pos="459">
          <p15:clr>
            <a:srgbClr val="A4A3A4"/>
          </p15:clr>
        </p15:guide>
        <p15:guide id="17" pos="2819">
          <p15:clr>
            <a:srgbClr val="A4A3A4"/>
          </p15:clr>
        </p15:guide>
        <p15:guide id="18" pos="2593">
          <p15:clr>
            <a:srgbClr val="A4A3A4"/>
          </p15:clr>
        </p15:guide>
        <p15:guide id="19" pos="4861">
          <p15:clr>
            <a:srgbClr val="A4A3A4"/>
          </p15:clr>
        </p15:guide>
        <p15:guide id="20" pos="5087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A2B707-8526-46CE-8B33-921EF2514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13583025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A2B707-8526-46CE-8B33-921EF2514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3 Catena-X or an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1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2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1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2396049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  <p:sldLayoutId id="2147484187" r:id="rId15"/>
    <p:sldLayoutId id="2147484188" r:id="rId16"/>
    <p:sldLayoutId id="2147484189" r:id="rId17"/>
    <p:sldLayoutId id="2147484190" r:id="rId18"/>
    <p:sldLayoutId id="2147484191" r:id="rId19"/>
    <p:sldLayoutId id="2147484192" r:id="rId20"/>
  </p:sldLayoutIdLst>
  <p:hf hdr="0"/>
  <p:txStyles>
    <p:titleStyle>
      <a:lvl1pPr marL="0" indent="0" algn="l" defTabSz="914378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60" indent="-914360" algn="l" defTabSz="914378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50" indent="-228591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1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1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sv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svg"/><Relationship Id="rId10" Type="http://schemas.openxmlformats.org/officeDocument/2006/relationships/image" Target="../media/image31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F5C35C4-9523-5B9C-6887-6E9888CC8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the different levels work together?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6B7BE39-27CE-B156-3830-44035545CBF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057" name="Table 3">
            <a:extLst>
              <a:ext uri="{FF2B5EF4-FFF2-40B4-BE49-F238E27FC236}">
                <a16:creationId xmlns:a16="http://schemas.microsoft.com/office/drawing/2014/main" id="{8318212D-0F66-8C77-99BF-BE95D91DD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134507"/>
              </p:ext>
            </p:extLst>
          </p:nvPr>
        </p:nvGraphicFramePr>
        <p:xfrm>
          <a:off x="260266" y="1412491"/>
          <a:ext cx="11439669" cy="4579006"/>
        </p:xfrm>
        <a:graphic>
          <a:graphicData uri="http://schemas.openxmlformats.org/drawingml/2006/table">
            <a:tbl>
              <a:tblPr firstRow="1" bandRow="1"/>
              <a:tblGrid>
                <a:gridCol w="1224919">
                  <a:extLst>
                    <a:ext uri="{9D8B030D-6E8A-4147-A177-3AD203B41FA5}">
                      <a16:colId xmlns:a16="http://schemas.microsoft.com/office/drawing/2014/main" val="3885690925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380576949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2650529660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2292034130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112185231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469370162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1617897513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1798220980"/>
                    </a:ext>
                  </a:extLst>
                </a:gridCol>
              </a:tblGrid>
              <a:tr h="197289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de-DE" sz="1200" b="1"/>
                    </a:p>
                  </a:txBody>
                  <a:tcPr marL="71999" marR="91438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2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3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4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1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2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3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4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421530"/>
                  </a:ext>
                </a:extLst>
              </a:tr>
              <a:tr h="1841015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Catena-X Ecosystem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CB2D"/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059138"/>
                  </a:ext>
                </a:extLst>
              </a:tr>
              <a:tr h="1591468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Catena-X e.V.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A600"/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2965559"/>
                  </a:ext>
                </a:extLst>
              </a:tr>
              <a:tr h="949234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864017" rtl="0" eaLnBrk="1" latinLnBrk="0" hangingPunct="1"/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Tractus-X</a:t>
                      </a:r>
                      <a:b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Project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538072"/>
                  </a:ext>
                </a:extLst>
              </a:tr>
            </a:tbl>
          </a:graphicData>
        </a:graphic>
      </p:graphicFrame>
      <p:sp>
        <p:nvSpPr>
          <p:cNvPr id="1058" name="Parallelogram 182">
            <a:extLst>
              <a:ext uri="{FF2B5EF4-FFF2-40B4-BE49-F238E27FC236}">
                <a16:creationId xmlns:a16="http://schemas.microsoft.com/office/drawing/2014/main" id="{B75C7107-4F2F-3A26-F507-8040BC0618F3}"/>
              </a:ext>
            </a:extLst>
          </p:cNvPr>
          <p:cNvSpPr/>
          <p:nvPr/>
        </p:nvSpPr>
        <p:spPr>
          <a:xfrm>
            <a:off x="8767056" y="3461229"/>
            <a:ext cx="1945969" cy="1093522"/>
          </a:xfrm>
          <a:prstGeom prst="parallelogram">
            <a:avLst>
              <a:gd name="adj" fmla="val 55089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59" name="Parallelogram 173">
            <a:extLst>
              <a:ext uri="{FF2B5EF4-FFF2-40B4-BE49-F238E27FC236}">
                <a16:creationId xmlns:a16="http://schemas.microsoft.com/office/drawing/2014/main" id="{A8A9DD6D-6758-22F0-AECC-DBFE47AAFC48}"/>
              </a:ext>
            </a:extLst>
          </p:cNvPr>
          <p:cNvSpPr/>
          <p:nvPr/>
        </p:nvSpPr>
        <p:spPr>
          <a:xfrm>
            <a:off x="4493812" y="3483878"/>
            <a:ext cx="3343357" cy="1026161"/>
          </a:xfrm>
          <a:prstGeom prst="parallelogram">
            <a:avLst>
              <a:gd name="adj" fmla="val 194911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0" name="Parallelogram 174">
            <a:extLst>
              <a:ext uri="{FF2B5EF4-FFF2-40B4-BE49-F238E27FC236}">
                <a16:creationId xmlns:a16="http://schemas.microsoft.com/office/drawing/2014/main" id="{6EC83A86-D7E9-C552-181D-A856EFBB4B32}"/>
              </a:ext>
            </a:extLst>
          </p:cNvPr>
          <p:cNvSpPr/>
          <p:nvPr/>
        </p:nvSpPr>
        <p:spPr>
          <a:xfrm>
            <a:off x="5901618" y="3465775"/>
            <a:ext cx="1951550" cy="1052806"/>
          </a:xfrm>
          <a:prstGeom prst="parallelogram">
            <a:avLst>
              <a:gd name="adj" fmla="val 60772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1" name="Parallelogram 181">
            <a:extLst>
              <a:ext uri="{FF2B5EF4-FFF2-40B4-BE49-F238E27FC236}">
                <a16:creationId xmlns:a16="http://schemas.microsoft.com/office/drawing/2014/main" id="{3EA73E3E-994F-9357-24F4-AEA9534440C5}"/>
              </a:ext>
            </a:extLst>
          </p:cNvPr>
          <p:cNvSpPr/>
          <p:nvPr/>
        </p:nvSpPr>
        <p:spPr>
          <a:xfrm>
            <a:off x="7365979" y="3459113"/>
            <a:ext cx="3352921" cy="1078540"/>
          </a:xfrm>
          <a:prstGeom prst="parallelogram">
            <a:avLst>
              <a:gd name="adj" fmla="val 186546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2" name="Parallelogram 28">
            <a:extLst>
              <a:ext uri="{FF2B5EF4-FFF2-40B4-BE49-F238E27FC236}">
                <a16:creationId xmlns:a16="http://schemas.microsoft.com/office/drawing/2014/main" id="{4791C19D-E937-D0FE-6BF3-73D49D92A6BA}"/>
              </a:ext>
            </a:extLst>
          </p:cNvPr>
          <p:cNvSpPr/>
          <p:nvPr/>
        </p:nvSpPr>
        <p:spPr>
          <a:xfrm>
            <a:off x="1575812" y="3468667"/>
            <a:ext cx="3193852" cy="1036292"/>
          </a:xfrm>
          <a:prstGeom prst="parallelogram">
            <a:avLst>
              <a:gd name="adj" fmla="val 178473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3" name="Parallelogram 29">
            <a:extLst>
              <a:ext uri="{FF2B5EF4-FFF2-40B4-BE49-F238E27FC236}">
                <a16:creationId xmlns:a16="http://schemas.microsoft.com/office/drawing/2014/main" id="{A3077BB1-96FB-48D7-9039-7DCDB30EBD81}"/>
              </a:ext>
            </a:extLst>
          </p:cNvPr>
          <p:cNvSpPr/>
          <p:nvPr/>
        </p:nvSpPr>
        <p:spPr>
          <a:xfrm>
            <a:off x="2998702" y="3485765"/>
            <a:ext cx="1781989" cy="1019194"/>
          </a:xfrm>
          <a:prstGeom prst="parallelogram">
            <a:avLst>
              <a:gd name="adj" fmla="val 39939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6" name="Rechteck 5">
            <a:extLst>
              <a:ext uri="{FF2B5EF4-FFF2-40B4-BE49-F238E27FC236}">
                <a16:creationId xmlns:a16="http://schemas.microsoft.com/office/drawing/2014/main" id="{86810C47-9E01-1947-254B-394B80923E28}"/>
              </a:ext>
            </a:extLst>
          </p:cNvPr>
          <p:cNvSpPr/>
          <p:nvPr/>
        </p:nvSpPr>
        <p:spPr>
          <a:xfrm>
            <a:off x="1570341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 &amp; Release Cycle</a:t>
            </a:r>
          </a:p>
        </p:txBody>
      </p:sp>
      <p:pic>
        <p:nvPicPr>
          <p:cNvPr id="1067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D6D77DC7-7EE6-F09A-98CD-579F46118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085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8" name="Rechteck 5">
            <a:extLst>
              <a:ext uri="{FF2B5EF4-FFF2-40B4-BE49-F238E27FC236}">
                <a16:creationId xmlns:a16="http://schemas.microsoft.com/office/drawing/2014/main" id="{E38512DE-504D-7992-9B18-FF3B6C8AF2C8}"/>
              </a:ext>
            </a:extLst>
          </p:cNvPr>
          <p:cNvSpPr/>
          <p:nvPr/>
        </p:nvSpPr>
        <p:spPr>
          <a:xfrm>
            <a:off x="3014691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070" name="Rechteck 5">
            <a:extLst>
              <a:ext uri="{FF2B5EF4-FFF2-40B4-BE49-F238E27FC236}">
                <a16:creationId xmlns:a16="http://schemas.microsoft.com/office/drawing/2014/main" id="{2BAC98B7-4B64-143F-ADA1-4E8DEE74455F}"/>
              </a:ext>
            </a:extLst>
          </p:cNvPr>
          <p:cNvSpPr/>
          <p:nvPr/>
        </p:nvSpPr>
        <p:spPr>
          <a:xfrm>
            <a:off x="3014691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1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948F4551-A400-D76A-1A73-E0B2D841D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435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2" name="Rechteck 5">
            <a:extLst>
              <a:ext uri="{FF2B5EF4-FFF2-40B4-BE49-F238E27FC236}">
                <a16:creationId xmlns:a16="http://schemas.microsoft.com/office/drawing/2014/main" id="{4C8006D5-2499-0D4A-9859-6F7FD973CDE7}"/>
              </a:ext>
            </a:extLst>
          </p:cNvPr>
          <p:cNvSpPr/>
          <p:nvPr/>
        </p:nvSpPr>
        <p:spPr>
          <a:xfrm>
            <a:off x="4459040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074" name="Rechteck 5">
            <a:extLst>
              <a:ext uri="{FF2B5EF4-FFF2-40B4-BE49-F238E27FC236}">
                <a16:creationId xmlns:a16="http://schemas.microsoft.com/office/drawing/2014/main" id="{87C611DA-5997-2134-2F92-F2287E2303B9}"/>
              </a:ext>
            </a:extLst>
          </p:cNvPr>
          <p:cNvSpPr/>
          <p:nvPr/>
        </p:nvSpPr>
        <p:spPr>
          <a:xfrm>
            <a:off x="4459040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5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069AB70C-834F-1AB7-159E-F8AD4D66C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784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6" name="Rechteck 5">
            <a:extLst>
              <a:ext uri="{FF2B5EF4-FFF2-40B4-BE49-F238E27FC236}">
                <a16:creationId xmlns:a16="http://schemas.microsoft.com/office/drawing/2014/main" id="{D3F93877-ED92-9D1F-F851-BB41F92F8091}"/>
              </a:ext>
            </a:extLst>
          </p:cNvPr>
          <p:cNvSpPr/>
          <p:nvPr/>
        </p:nvSpPr>
        <p:spPr>
          <a:xfrm>
            <a:off x="5927455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078" name="Rechteck 5">
            <a:extLst>
              <a:ext uri="{FF2B5EF4-FFF2-40B4-BE49-F238E27FC236}">
                <a16:creationId xmlns:a16="http://schemas.microsoft.com/office/drawing/2014/main" id="{8D2F9604-206F-C8F0-85BD-AD39BF08188F}"/>
              </a:ext>
            </a:extLst>
          </p:cNvPr>
          <p:cNvSpPr/>
          <p:nvPr/>
        </p:nvSpPr>
        <p:spPr>
          <a:xfrm>
            <a:off x="5927455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9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BFC85AFA-3534-14DB-6305-864A587C3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490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0" name="Rechteck 5">
            <a:extLst>
              <a:ext uri="{FF2B5EF4-FFF2-40B4-BE49-F238E27FC236}">
                <a16:creationId xmlns:a16="http://schemas.microsoft.com/office/drawing/2014/main" id="{84814BFF-E14E-1661-8173-531B16A632B8}"/>
              </a:ext>
            </a:extLst>
          </p:cNvPr>
          <p:cNvSpPr/>
          <p:nvPr/>
        </p:nvSpPr>
        <p:spPr>
          <a:xfrm>
            <a:off x="7376617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082" name="Rechteck 5">
            <a:extLst>
              <a:ext uri="{FF2B5EF4-FFF2-40B4-BE49-F238E27FC236}">
                <a16:creationId xmlns:a16="http://schemas.microsoft.com/office/drawing/2014/main" id="{A81741B5-7E30-E3C8-41BA-022C40FD5BDB}"/>
              </a:ext>
            </a:extLst>
          </p:cNvPr>
          <p:cNvSpPr/>
          <p:nvPr/>
        </p:nvSpPr>
        <p:spPr>
          <a:xfrm>
            <a:off x="7376617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3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85D9ED73-EF69-C3AE-928A-5972F6193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361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4" name="Rechteck 5">
            <a:extLst>
              <a:ext uri="{FF2B5EF4-FFF2-40B4-BE49-F238E27FC236}">
                <a16:creationId xmlns:a16="http://schemas.microsoft.com/office/drawing/2014/main" id="{05E371BD-F54C-CCF0-2B34-0791C0768713}"/>
              </a:ext>
            </a:extLst>
          </p:cNvPr>
          <p:cNvSpPr/>
          <p:nvPr/>
        </p:nvSpPr>
        <p:spPr>
          <a:xfrm>
            <a:off x="8835405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086" name="Rechteck 5">
            <a:extLst>
              <a:ext uri="{FF2B5EF4-FFF2-40B4-BE49-F238E27FC236}">
                <a16:creationId xmlns:a16="http://schemas.microsoft.com/office/drawing/2014/main" id="{9AC8380D-C0B5-A78A-59E0-F9321A9E19EE}"/>
              </a:ext>
            </a:extLst>
          </p:cNvPr>
          <p:cNvSpPr/>
          <p:nvPr/>
        </p:nvSpPr>
        <p:spPr>
          <a:xfrm>
            <a:off x="8835405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7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F8CFECF5-9F42-F808-9D75-74DFAA37F1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5440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8" name="Rectangle 5">
            <a:extLst>
              <a:ext uri="{FF2B5EF4-FFF2-40B4-BE49-F238E27FC236}">
                <a16:creationId xmlns:a16="http://schemas.microsoft.com/office/drawing/2014/main" id="{830EBFAE-2357-BE32-E9DE-31CE4CEFCC01}"/>
              </a:ext>
            </a:extLst>
          </p:cNvPr>
          <p:cNvSpPr/>
          <p:nvPr/>
        </p:nvSpPr>
        <p:spPr>
          <a:xfrm>
            <a:off x="4769664" y="1992318"/>
            <a:ext cx="5941385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jor Release </a:t>
            </a:r>
            <a:br>
              <a:rPr lang="en-US" sz="1000" b="1" kern="0" dirty="0">
                <a:latin typeface="Manrope" pitchFamily="2" charset="0"/>
              </a:rPr>
            </a:b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urrent</a:t>
            </a:r>
          </a:p>
        </p:txBody>
      </p:sp>
      <p:sp>
        <p:nvSpPr>
          <p:cNvPr id="1089" name="Rectangle 7">
            <a:extLst>
              <a:ext uri="{FF2B5EF4-FFF2-40B4-BE49-F238E27FC236}">
                <a16:creationId xmlns:a16="http://schemas.microsoft.com/office/drawing/2014/main" id="{47948414-6365-8E11-51B4-C77D9E6BBADF}"/>
              </a:ext>
            </a:extLst>
          </p:cNvPr>
          <p:cNvSpPr/>
          <p:nvPr/>
        </p:nvSpPr>
        <p:spPr>
          <a:xfrm>
            <a:off x="2131542" y="1671286"/>
            <a:ext cx="2638122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inor Release 24.0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5 Months</a:t>
            </a:r>
          </a:p>
        </p:txBody>
      </p:sp>
      <p:sp>
        <p:nvSpPr>
          <p:cNvPr id="1090" name="Rectangle 11">
            <a:extLst>
              <a:ext uri="{FF2B5EF4-FFF2-40B4-BE49-F238E27FC236}">
                <a16:creationId xmlns:a16="http://schemas.microsoft.com/office/drawing/2014/main" id="{3E8B6223-C1AD-6E90-447B-B37DF5B66B81}"/>
              </a:ext>
            </a:extLst>
          </p:cNvPr>
          <p:cNvSpPr/>
          <p:nvPr/>
        </p:nvSpPr>
        <p:spPr>
          <a:xfrm>
            <a:off x="10711049" y="2323860"/>
            <a:ext cx="1448573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2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latin typeface="Manrope" pitchFamily="2" charset="0"/>
              </a:rPr>
              <a:t>CX-Saturn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urrent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91" name="Rechteck 7">
            <a:extLst>
              <a:ext uri="{FF2B5EF4-FFF2-40B4-BE49-F238E27FC236}">
                <a16:creationId xmlns:a16="http://schemas.microsoft.com/office/drawing/2014/main" id="{32003B57-80F0-C2FD-A111-FD2B498B565D}"/>
              </a:ext>
            </a:extLst>
          </p:cNvPr>
          <p:cNvSpPr/>
          <p:nvPr/>
        </p:nvSpPr>
        <p:spPr>
          <a:xfrm>
            <a:off x="9400788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CX-Saturn</a:t>
            </a:r>
          </a:p>
        </p:txBody>
      </p:sp>
      <p:sp>
        <p:nvSpPr>
          <p:cNvPr id="1093" name="TextBox 114">
            <a:extLst>
              <a:ext uri="{FF2B5EF4-FFF2-40B4-BE49-F238E27FC236}">
                <a16:creationId xmlns:a16="http://schemas.microsoft.com/office/drawing/2014/main" id="{57E8E1C9-6989-3EBD-E118-F8E7C161D6D9}"/>
              </a:ext>
            </a:extLst>
          </p:cNvPr>
          <p:cNvSpPr txBox="1"/>
          <p:nvPr/>
        </p:nvSpPr>
        <p:spPr>
          <a:xfrm>
            <a:off x="11035812" y="5644872"/>
            <a:ext cx="727577" cy="32960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12</a:t>
            </a:r>
          </a:p>
        </p:txBody>
      </p:sp>
      <p:sp>
        <p:nvSpPr>
          <p:cNvPr id="1094" name="Flowchart: Decision 140">
            <a:extLst>
              <a:ext uri="{FF2B5EF4-FFF2-40B4-BE49-F238E27FC236}">
                <a16:creationId xmlns:a16="http://schemas.microsoft.com/office/drawing/2014/main" id="{4ADD1D8E-54D0-1E9C-CADE-158ED3775B72}"/>
              </a:ext>
            </a:extLst>
          </p:cNvPr>
          <p:cNvSpPr/>
          <p:nvPr/>
        </p:nvSpPr>
        <p:spPr>
          <a:xfrm>
            <a:off x="10726158" y="3138124"/>
            <a:ext cx="245804" cy="255634"/>
          </a:xfrm>
          <a:prstGeom prst="flowChartDecision">
            <a:avLst/>
          </a:prstGeom>
          <a:solidFill>
            <a:srgbClr val="FFC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95" name="TextBox 141">
            <a:extLst>
              <a:ext uri="{FF2B5EF4-FFF2-40B4-BE49-F238E27FC236}">
                <a16:creationId xmlns:a16="http://schemas.microsoft.com/office/drawing/2014/main" id="{AB81E919-A569-0E70-C4A4-72CA24D0AA43}"/>
              </a:ext>
            </a:extLst>
          </p:cNvPr>
          <p:cNvSpPr txBox="1"/>
          <p:nvPr/>
        </p:nvSpPr>
        <p:spPr>
          <a:xfrm>
            <a:off x="10823927" y="2826805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CX-Saturn</a:t>
            </a:r>
          </a:p>
        </p:txBody>
      </p:sp>
      <p:sp>
        <p:nvSpPr>
          <p:cNvPr id="1096" name="Rechteck 7">
            <a:extLst>
              <a:ext uri="{FF2B5EF4-FFF2-40B4-BE49-F238E27FC236}">
                <a16:creationId xmlns:a16="http://schemas.microsoft.com/office/drawing/2014/main" id="{E59B5850-4233-5AFE-2B91-657DCD9525FE}"/>
              </a:ext>
            </a:extLst>
          </p:cNvPr>
          <p:cNvSpPr/>
          <p:nvPr/>
        </p:nvSpPr>
        <p:spPr>
          <a:xfrm>
            <a:off x="6526908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CX-Io</a:t>
            </a:r>
          </a:p>
        </p:txBody>
      </p:sp>
      <p:sp>
        <p:nvSpPr>
          <p:cNvPr id="1098" name="Flowchart: Decision 10">
            <a:extLst>
              <a:ext uri="{FF2B5EF4-FFF2-40B4-BE49-F238E27FC236}">
                <a16:creationId xmlns:a16="http://schemas.microsoft.com/office/drawing/2014/main" id="{7727B37E-D2D6-784A-8957-EDC02E0B3BB8}"/>
              </a:ext>
            </a:extLst>
          </p:cNvPr>
          <p:cNvSpPr/>
          <p:nvPr/>
        </p:nvSpPr>
        <p:spPr>
          <a:xfrm>
            <a:off x="7848981" y="3138124"/>
            <a:ext cx="245804" cy="255634"/>
          </a:xfrm>
          <a:prstGeom prst="flowChartDecision">
            <a:avLst/>
          </a:prstGeom>
          <a:solidFill>
            <a:srgbClr val="FFCA21">
              <a:lumMod val="50000"/>
            </a:srgb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99" name="TextBox 13">
            <a:extLst>
              <a:ext uri="{FF2B5EF4-FFF2-40B4-BE49-F238E27FC236}">
                <a16:creationId xmlns:a16="http://schemas.microsoft.com/office/drawing/2014/main" id="{BA4E2C69-ABAB-6E15-BF9C-EABC06B75B65}"/>
              </a:ext>
            </a:extLst>
          </p:cNvPr>
          <p:cNvSpPr txBox="1"/>
          <p:nvPr/>
        </p:nvSpPr>
        <p:spPr>
          <a:xfrm>
            <a:off x="7936361" y="2826805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CX-Io</a:t>
            </a:r>
          </a:p>
        </p:txBody>
      </p:sp>
      <p:sp>
        <p:nvSpPr>
          <p:cNvPr id="1100" name="Rectangle 1">
            <a:extLst>
              <a:ext uri="{FF2B5EF4-FFF2-40B4-BE49-F238E27FC236}">
                <a16:creationId xmlns:a16="http://schemas.microsoft.com/office/drawing/2014/main" id="{472F809F-B467-EB4C-C99A-F33AE47A4463}"/>
              </a:ext>
            </a:extLst>
          </p:cNvPr>
          <p:cNvSpPr/>
          <p:nvPr/>
        </p:nvSpPr>
        <p:spPr>
          <a:xfrm>
            <a:off x="10711048" y="1988292"/>
            <a:ext cx="1448573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X-Jupite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intenance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101" name="Rechteck 7">
            <a:extLst>
              <a:ext uri="{FF2B5EF4-FFF2-40B4-BE49-F238E27FC236}">
                <a16:creationId xmlns:a16="http://schemas.microsoft.com/office/drawing/2014/main" id="{8C764987-2B63-62B3-D2F3-7C3772AF3B4D}"/>
              </a:ext>
            </a:extLst>
          </p:cNvPr>
          <p:cNvSpPr/>
          <p:nvPr/>
        </p:nvSpPr>
        <p:spPr>
          <a:xfrm>
            <a:off x="3436252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CX-Jupiter</a:t>
            </a:r>
          </a:p>
        </p:txBody>
      </p:sp>
      <p:sp>
        <p:nvSpPr>
          <p:cNvPr id="1103" name="Flowchart: Decision 137">
            <a:extLst>
              <a:ext uri="{FF2B5EF4-FFF2-40B4-BE49-F238E27FC236}">
                <a16:creationId xmlns:a16="http://schemas.microsoft.com/office/drawing/2014/main" id="{18D8CE16-6FFD-5CB6-80FD-0DDDECA59250}"/>
              </a:ext>
            </a:extLst>
          </p:cNvPr>
          <p:cNvSpPr/>
          <p:nvPr/>
        </p:nvSpPr>
        <p:spPr>
          <a:xfrm>
            <a:off x="4771622" y="3138124"/>
            <a:ext cx="245804" cy="255634"/>
          </a:xfrm>
          <a:prstGeom prst="flowChartDecision">
            <a:avLst/>
          </a:prstGeom>
          <a:solidFill>
            <a:srgbClr val="FFC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04" name="TextBox 138">
            <a:extLst>
              <a:ext uri="{FF2B5EF4-FFF2-40B4-BE49-F238E27FC236}">
                <a16:creationId xmlns:a16="http://schemas.microsoft.com/office/drawing/2014/main" id="{B59836C4-0EAF-D74B-6E4C-4D30D8C86BBE}"/>
              </a:ext>
            </a:extLst>
          </p:cNvPr>
          <p:cNvSpPr txBox="1"/>
          <p:nvPr/>
        </p:nvSpPr>
        <p:spPr>
          <a:xfrm>
            <a:off x="4835322" y="2826805"/>
            <a:ext cx="918954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CX-Jupiter</a:t>
            </a:r>
          </a:p>
        </p:txBody>
      </p:sp>
      <p:sp>
        <p:nvSpPr>
          <p:cNvPr id="1105" name="TextBox 117">
            <a:extLst>
              <a:ext uri="{FF2B5EF4-FFF2-40B4-BE49-F238E27FC236}">
                <a16:creationId xmlns:a16="http://schemas.microsoft.com/office/drawing/2014/main" id="{FE5DFCDE-2623-1460-A98C-11F213C46A7C}"/>
              </a:ext>
            </a:extLst>
          </p:cNvPr>
          <p:cNvSpPr txBox="1"/>
          <p:nvPr/>
        </p:nvSpPr>
        <p:spPr>
          <a:xfrm>
            <a:off x="2338104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05</a:t>
            </a:r>
          </a:p>
        </p:txBody>
      </p:sp>
      <p:sp>
        <p:nvSpPr>
          <p:cNvPr id="1106" name="TextBox 109">
            <a:extLst>
              <a:ext uri="{FF2B5EF4-FFF2-40B4-BE49-F238E27FC236}">
                <a16:creationId xmlns:a16="http://schemas.microsoft.com/office/drawing/2014/main" id="{57FC68D2-6584-AAEB-E417-5D5D053F854F}"/>
              </a:ext>
            </a:extLst>
          </p:cNvPr>
          <p:cNvSpPr txBox="1"/>
          <p:nvPr/>
        </p:nvSpPr>
        <p:spPr>
          <a:xfrm>
            <a:off x="815333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6</a:t>
            </a:r>
          </a:p>
        </p:txBody>
      </p:sp>
      <p:sp>
        <p:nvSpPr>
          <p:cNvPr id="1108" name="TextBox 34">
            <a:extLst>
              <a:ext uri="{FF2B5EF4-FFF2-40B4-BE49-F238E27FC236}">
                <a16:creationId xmlns:a16="http://schemas.microsoft.com/office/drawing/2014/main" id="{BACCCB90-1515-918D-93E2-8CE320E20C9A}"/>
              </a:ext>
            </a:extLst>
          </p:cNvPr>
          <p:cNvSpPr txBox="1"/>
          <p:nvPr/>
        </p:nvSpPr>
        <p:spPr>
          <a:xfrm>
            <a:off x="3239659" y="3754874"/>
            <a:ext cx="949575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 panose="020B0604020202020204" pitchFamily="34" charset="0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 panose="020B0604020202020204" pitchFamily="34" charset="0"/>
              </a:rPr>
              <a:t>Gate </a:t>
            </a:r>
            <a:r>
              <a:rPr lang="en-US" sz="800" b="1" dirty="0">
                <a:latin typeface="Manrope" pitchFamily="2" charset="0"/>
                <a:cs typeface="Arial" panose="020B0604020202020204" pitchFamily="34" charset="0"/>
              </a:rPr>
              <a:t>CX-Jupiter</a:t>
            </a:r>
          </a:p>
        </p:txBody>
      </p:sp>
      <p:pic>
        <p:nvPicPr>
          <p:cNvPr id="1109" name="Grafik 1108" descr="Filter mit einfarbiger Füllung">
            <a:extLst>
              <a:ext uri="{FF2B5EF4-FFF2-40B4-BE49-F238E27FC236}">
                <a16:creationId xmlns:a16="http://schemas.microsoft.com/office/drawing/2014/main" id="{DCC98BC5-0C94-44B7-0E9B-329049699A6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3962194" y="3731840"/>
            <a:ext cx="360000" cy="360000"/>
          </a:xfrm>
          <a:prstGeom prst="rect">
            <a:avLst/>
          </a:prstGeom>
        </p:spPr>
      </p:pic>
      <p:sp>
        <p:nvSpPr>
          <p:cNvPr id="1111" name="TextBox 34">
            <a:extLst>
              <a:ext uri="{FF2B5EF4-FFF2-40B4-BE49-F238E27FC236}">
                <a16:creationId xmlns:a16="http://schemas.microsoft.com/office/drawing/2014/main" id="{814C822C-159A-7F77-EDEF-0D7ADBF9201E}"/>
              </a:ext>
            </a:extLst>
          </p:cNvPr>
          <p:cNvSpPr txBox="1"/>
          <p:nvPr/>
        </p:nvSpPr>
        <p:spPr>
          <a:xfrm>
            <a:off x="6214959" y="3754874"/>
            <a:ext cx="821507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/>
              </a:rPr>
              <a:t>Gate </a:t>
            </a:r>
            <a:r>
              <a:rPr lang="en-US" sz="800" b="1" dirty="0">
                <a:latin typeface="Manrope" pitchFamily="2" charset="0"/>
                <a:cs typeface="Arial"/>
              </a:rPr>
              <a:t>CX-Io</a:t>
            </a:r>
            <a:endParaRPr lang="en-US" sz="800" b="1" dirty="0"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12" name="Grafik 1111" descr="Filter mit einfarbiger Füllung">
            <a:extLst>
              <a:ext uri="{FF2B5EF4-FFF2-40B4-BE49-F238E27FC236}">
                <a16:creationId xmlns:a16="http://schemas.microsoft.com/office/drawing/2014/main" id="{9E148C88-1C6F-C4E9-9AB7-3A14F1CECFF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6857982" y="3731840"/>
            <a:ext cx="360000" cy="360000"/>
          </a:xfrm>
          <a:prstGeom prst="rect">
            <a:avLst/>
          </a:prstGeom>
        </p:spPr>
      </p:pic>
      <p:sp>
        <p:nvSpPr>
          <p:cNvPr id="1114" name="TextBox 34">
            <a:extLst>
              <a:ext uri="{FF2B5EF4-FFF2-40B4-BE49-F238E27FC236}">
                <a16:creationId xmlns:a16="http://schemas.microsoft.com/office/drawing/2014/main" id="{00F9BF6A-72EF-BF4F-FD26-E1F5719866C3}"/>
              </a:ext>
            </a:extLst>
          </p:cNvPr>
          <p:cNvSpPr txBox="1"/>
          <p:nvPr/>
        </p:nvSpPr>
        <p:spPr>
          <a:xfrm>
            <a:off x="9142863" y="3754874"/>
            <a:ext cx="821507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/>
              </a:rPr>
              <a:t>Gate </a:t>
            </a:r>
            <a:r>
              <a:rPr lang="en-US" sz="800" b="1" dirty="0">
                <a:latin typeface="Manrope" pitchFamily="2" charset="0"/>
                <a:cs typeface="Arial"/>
              </a:rPr>
              <a:t>CX-Saturn</a:t>
            </a:r>
            <a:endParaRPr lang="en-US" sz="800" b="1" dirty="0"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15" name="Grafik 1114" descr="Filter mit einfarbiger Füllung">
            <a:extLst>
              <a:ext uri="{FF2B5EF4-FFF2-40B4-BE49-F238E27FC236}">
                <a16:creationId xmlns:a16="http://schemas.microsoft.com/office/drawing/2014/main" id="{0C858F2A-6039-BA11-8199-5DA6B7AEFA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9835581" y="3731841"/>
            <a:ext cx="360000" cy="360000"/>
          </a:xfrm>
          <a:prstGeom prst="rect">
            <a:avLst/>
          </a:prstGeom>
        </p:spPr>
      </p:pic>
      <p:sp>
        <p:nvSpPr>
          <p:cNvPr id="1116" name="Rechteck 5">
            <a:extLst>
              <a:ext uri="{FF2B5EF4-FFF2-40B4-BE49-F238E27FC236}">
                <a16:creationId xmlns:a16="http://schemas.microsoft.com/office/drawing/2014/main" id="{E81418D8-D5AC-34B5-492B-E4E5A7864887}"/>
              </a:ext>
            </a:extLst>
          </p:cNvPr>
          <p:cNvSpPr/>
          <p:nvPr/>
        </p:nvSpPr>
        <p:spPr>
          <a:xfrm>
            <a:off x="10294191" y="4475200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sp>
        <p:nvSpPr>
          <p:cNvPr id="1118" name="Rechteck 5">
            <a:extLst>
              <a:ext uri="{FF2B5EF4-FFF2-40B4-BE49-F238E27FC236}">
                <a16:creationId xmlns:a16="http://schemas.microsoft.com/office/drawing/2014/main" id="{9E94A974-F98A-C61F-1C15-79D085533E3F}"/>
              </a:ext>
            </a:extLst>
          </p:cNvPr>
          <p:cNvSpPr/>
          <p:nvPr/>
        </p:nvSpPr>
        <p:spPr>
          <a:xfrm>
            <a:off x="10294191" y="531273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119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43E1E856-8036-8D69-9872-BD7450B19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935" y="5326790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0" name="Flowchart: Decision 62">
            <a:extLst>
              <a:ext uri="{FF2B5EF4-FFF2-40B4-BE49-F238E27FC236}">
                <a16:creationId xmlns:a16="http://schemas.microsoft.com/office/drawing/2014/main" id="{114B11B0-2C25-4760-CB07-30D821D0C18C}"/>
              </a:ext>
            </a:extLst>
          </p:cNvPr>
          <p:cNvSpPr/>
          <p:nvPr/>
        </p:nvSpPr>
        <p:spPr>
          <a:xfrm>
            <a:off x="5690110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1" name="TextBox 63">
            <a:extLst>
              <a:ext uri="{FF2B5EF4-FFF2-40B4-BE49-F238E27FC236}">
                <a16:creationId xmlns:a16="http://schemas.microsoft.com/office/drawing/2014/main" id="{89DB7808-F3B5-4AF3-737A-F76A2EE3B3CB}"/>
              </a:ext>
            </a:extLst>
          </p:cNvPr>
          <p:cNvSpPr txBox="1"/>
          <p:nvPr/>
        </p:nvSpPr>
        <p:spPr>
          <a:xfrm>
            <a:off x="5191747" y="5644872"/>
            <a:ext cx="727577" cy="32960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12</a:t>
            </a:r>
          </a:p>
        </p:txBody>
      </p:sp>
      <p:sp>
        <p:nvSpPr>
          <p:cNvPr id="1122" name="Flowchart: Decision 69">
            <a:extLst>
              <a:ext uri="{FF2B5EF4-FFF2-40B4-BE49-F238E27FC236}">
                <a16:creationId xmlns:a16="http://schemas.microsoft.com/office/drawing/2014/main" id="{9F6BA7BE-60C9-C275-B3D7-32E5228B83BE}"/>
              </a:ext>
            </a:extLst>
          </p:cNvPr>
          <p:cNvSpPr/>
          <p:nvPr/>
        </p:nvSpPr>
        <p:spPr>
          <a:xfrm>
            <a:off x="4240748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3" name="TextBox 70">
            <a:extLst>
              <a:ext uri="{FF2B5EF4-FFF2-40B4-BE49-F238E27FC236}">
                <a16:creationId xmlns:a16="http://schemas.microsoft.com/office/drawing/2014/main" id="{F8E99F0C-A290-EB02-24D0-E33193EABC34}"/>
              </a:ext>
            </a:extLst>
          </p:cNvPr>
          <p:cNvSpPr txBox="1"/>
          <p:nvPr/>
        </p:nvSpPr>
        <p:spPr>
          <a:xfrm>
            <a:off x="374887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08</a:t>
            </a:r>
          </a:p>
        </p:txBody>
      </p:sp>
      <p:sp>
        <p:nvSpPr>
          <p:cNvPr id="1124" name="Flowchart: Decision 116">
            <a:extLst>
              <a:ext uri="{FF2B5EF4-FFF2-40B4-BE49-F238E27FC236}">
                <a16:creationId xmlns:a16="http://schemas.microsoft.com/office/drawing/2014/main" id="{33AF8111-2896-FA5C-5C66-FA0CC355A4F1}"/>
              </a:ext>
            </a:extLst>
          </p:cNvPr>
          <p:cNvSpPr/>
          <p:nvPr/>
        </p:nvSpPr>
        <p:spPr>
          <a:xfrm>
            <a:off x="2804323" y="5350899"/>
            <a:ext cx="245804" cy="255634"/>
          </a:xfrm>
          <a:prstGeom prst="flowChartDecision">
            <a:avLst/>
          </a:prstGeom>
          <a:solidFill>
            <a:srgbClr val="C0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5" name="TextBox 78">
            <a:extLst>
              <a:ext uri="{FF2B5EF4-FFF2-40B4-BE49-F238E27FC236}">
                <a16:creationId xmlns:a16="http://schemas.microsoft.com/office/drawing/2014/main" id="{1837872F-BDF2-0BBD-FD53-645230A5DFDD}"/>
              </a:ext>
            </a:extLst>
          </p:cNvPr>
          <p:cNvSpPr txBox="1"/>
          <p:nvPr/>
        </p:nvSpPr>
        <p:spPr>
          <a:xfrm>
            <a:off x="6695218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3</a:t>
            </a:r>
          </a:p>
        </p:txBody>
      </p:sp>
      <p:sp>
        <p:nvSpPr>
          <p:cNvPr id="1126" name="Flowchart: Decision 72">
            <a:extLst>
              <a:ext uri="{FF2B5EF4-FFF2-40B4-BE49-F238E27FC236}">
                <a16:creationId xmlns:a16="http://schemas.microsoft.com/office/drawing/2014/main" id="{5E564577-2D28-51EE-4CCD-9D7C49026CE0}"/>
              </a:ext>
            </a:extLst>
          </p:cNvPr>
          <p:cNvSpPr/>
          <p:nvPr/>
        </p:nvSpPr>
        <p:spPr>
          <a:xfrm>
            <a:off x="7155267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7" name="Flowchart: Decision 97">
            <a:extLst>
              <a:ext uri="{FF2B5EF4-FFF2-40B4-BE49-F238E27FC236}">
                <a16:creationId xmlns:a16="http://schemas.microsoft.com/office/drawing/2014/main" id="{7EEBDA77-927F-9961-BB43-F0C3C4264DDB}"/>
              </a:ext>
            </a:extLst>
          </p:cNvPr>
          <p:cNvSpPr/>
          <p:nvPr/>
        </p:nvSpPr>
        <p:spPr>
          <a:xfrm>
            <a:off x="8618139" y="5350899"/>
            <a:ext cx="245804" cy="255634"/>
          </a:xfrm>
          <a:prstGeom prst="flowChartDecision">
            <a:avLst/>
          </a:prstGeom>
          <a:solidFill>
            <a:srgbClr val="C0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8" name="Flowchart: Decision 120">
            <a:extLst>
              <a:ext uri="{FF2B5EF4-FFF2-40B4-BE49-F238E27FC236}">
                <a16:creationId xmlns:a16="http://schemas.microsoft.com/office/drawing/2014/main" id="{70755D88-335B-80D2-20D5-B78C449A1906}"/>
              </a:ext>
            </a:extLst>
          </p:cNvPr>
          <p:cNvSpPr/>
          <p:nvPr/>
        </p:nvSpPr>
        <p:spPr>
          <a:xfrm>
            <a:off x="10059760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9" name="TextBox 121">
            <a:extLst>
              <a:ext uri="{FF2B5EF4-FFF2-40B4-BE49-F238E27FC236}">
                <a16:creationId xmlns:a16="http://schemas.microsoft.com/office/drawing/2014/main" id="{09200547-0212-FD90-5231-9129C378AD0D}"/>
              </a:ext>
            </a:extLst>
          </p:cNvPr>
          <p:cNvSpPr txBox="1"/>
          <p:nvPr/>
        </p:nvSpPr>
        <p:spPr>
          <a:xfrm>
            <a:off x="959172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9</a:t>
            </a:r>
          </a:p>
        </p:txBody>
      </p:sp>
      <p:sp>
        <p:nvSpPr>
          <p:cNvPr id="1130" name="Flowchart: Decision 113">
            <a:extLst>
              <a:ext uri="{FF2B5EF4-FFF2-40B4-BE49-F238E27FC236}">
                <a16:creationId xmlns:a16="http://schemas.microsoft.com/office/drawing/2014/main" id="{41793831-E67A-CE0A-728C-A1DC59F272AC}"/>
              </a:ext>
            </a:extLst>
          </p:cNvPr>
          <p:cNvSpPr/>
          <p:nvPr/>
        </p:nvSpPr>
        <p:spPr>
          <a:xfrm>
            <a:off x="11520276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32" name="Grafik 1131" descr="Wiederholen mit einfarbiger Füllung">
            <a:extLst>
              <a:ext uri="{FF2B5EF4-FFF2-40B4-BE49-F238E27FC236}">
                <a16:creationId xmlns:a16="http://schemas.microsoft.com/office/drawing/2014/main" id="{67D443DF-D4D6-B7E4-C704-7CDFE0B3CC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00643" y="4929895"/>
            <a:ext cx="252000" cy="252000"/>
          </a:xfrm>
          <a:prstGeom prst="rect">
            <a:avLst/>
          </a:prstGeom>
        </p:spPr>
      </p:pic>
      <p:pic>
        <p:nvPicPr>
          <p:cNvPr id="1133" name="Grafik 1132" descr="Wiederholen mit einfarbiger Füllung">
            <a:extLst>
              <a:ext uri="{FF2B5EF4-FFF2-40B4-BE49-F238E27FC236}">
                <a16:creationId xmlns:a16="http://schemas.microsoft.com/office/drawing/2014/main" id="{176580EC-B287-3E3E-0B60-3454DAE6151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18758" y="4928063"/>
            <a:ext cx="252000" cy="252000"/>
          </a:xfrm>
          <a:prstGeom prst="rect">
            <a:avLst/>
          </a:prstGeom>
        </p:spPr>
      </p:pic>
      <p:pic>
        <p:nvPicPr>
          <p:cNvPr id="1135" name="Grafik 1134" descr="Wiederholen mit einfarbiger Füllung">
            <a:extLst>
              <a:ext uri="{FF2B5EF4-FFF2-40B4-BE49-F238E27FC236}">
                <a16:creationId xmlns:a16="http://schemas.microsoft.com/office/drawing/2014/main" id="{4EFE4EF5-F8C7-CD93-A82C-E0E2D7DA39C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27455" y="4926592"/>
            <a:ext cx="252000" cy="252000"/>
          </a:xfrm>
          <a:prstGeom prst="rect">
            <a:avLst/>
          </a:prstGeom>
        </p:spPr>
      </p:pic>
      <p:pic>
        <p:nvPicPr>
          <p:cNvPr id="1136" name="Grafik 1135" descr="Wiederholen mit einfarbiger Füllung">
            <a:extLst>
              <a:ext uri="{FF2B5EF4-FFF2-40B4-BE49-F238E27FC236}">
                <a16:creationId xmlns:a16="http://schemas.microsoft.com/office/drawing/2014/main" id="{0001F8EA-8684-42F5-B885-4326669F4E4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82406" y="4926592"/>
            <a:ext cx="252000" cy="252000"/>
          </a:xfrm>
          <a:prstGeom prst="rect">
            <a:avLst/>
          </a:prstGeom>
        </p:spPr>
      </p:pic>
      <p:pic>
        <p:nvPicPr>
          <p:cNvPr id="1137" name="Grafik 1136" descr="Wiederholen mit einfarbiger Füllung">
            <a:extLst>
              <a:ext uri="{FF2B5EF4-FFF2-40B4-BE49-F238E27FC236}">
                <a16:creationId xmlns:a16="http://schemas.microsoft.com/office/drawing/2014/main" id="{D892B3E6-4606-D2EC-4A2D-7FF9B0F35A3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39517" y="4926592"/>
            <a:ext cx="252000" cy="252000"/>
          </a:xfrm>
          <a:prstGeom prst="rect">
            <a:avLst/>
          </a:prstGeom>
        </p:spPr>
      </p:pic>
      <p:pic>
        <p:nvPicPr>
          <p:cNvPr id="1138" name="Grafik 1137" descr="Wiederholen mit einfarbiger Füllung">
            <a:extLst>
              <a:ext uri="{FF2B5EF4-FFF2-40B4-BE49-F238E27FC236}">
                <a16:creationId xmlns:a16="http://schemas.microsoft.com/office/drawing/2014/main" id="{C2B87190-5DB0-654A-FC23-07DBBED5216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25790" y="4926592"/>
            <a:ext cx="252000" cy="252000"/>
          </a:xfrm>
          <a:prstGeom prst="rect">
            <a:avLst/>
          </a:prstGeom>
        </p:spPr>
      </p:pic>
      <p:sp>
        <p:nvSpPr>
          <p:cNvPr id="10" name="TextBox 34">
            <a:extLst>
              <a:ext uri="{FF2B5EF4-FFF2-40B4-BE49-F238E27FC236}">
                <a16:creationId xmlns:a16="http://schemas.microsoft.com/office/drawing/2014/main" id="{A4CBD385-ED37-D276-5F36-5BF87FBC52F7}"/>
              </a:ext>
            </a:extLst>
          </p:cNvPr>
          <p:cNvSpPr txBox="1"/>
          <p:nvPr/>
        </p:nvSpPr>
        <p:spPr>
          <a:xfrm>
            <a:off x="2133181" y="4100025"/>
            <a:ext cx="1569214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Planning / Release Events 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Facilitated by Domain Manager*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99ED07A7-B01A-9D1A-690D-681922F54CA9}"/>
              </a:ext>
            </a:extLst>
          </p:cNvPr>
          <p:cNvCxnSpPr>
            <a:cxnSpLocks/>
            <a:stCxn id="10" idx="1"/>
            <a:endCxn id="1065" idx="0"/>
          </p:cNvCxnSpPr>
          <p:nvPr/>
        </p:nvCxnSpPr>
        <p:spPr bwMode="gray">
          <a:xfrm rot="10800000" flipV="1">
            <a:off x="1969375" y="4250065"/>
            <a:ext cx="163807" cy="236039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34">
            <a:extLst>
              <a:ext uri="{FF2B5EF4-FFF2-40B4-BE49-F238E27FC236}">
                <a16:creationId xmlns:a16="http://schemas.microsoft.com/office/drawing/2014/main" id="{31F2C89F-12B8-BA68-F936-BEBF0620FB5C}"/>
              </a:ext>
            </a:extLst>
          </p:cNvPr>
          <p:cNvSpPr txBox="1"/>
          <p:nvPr/>
        </p:nvSpPr>
        <p:spPr>
          <a:xfrm>
            <a:off x="4553630" y="3614019"/>
            <a:ext cx="1548000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hared Services </a:t>
            </a:r>
            <a:r>
              <a:rPr lang="en-US" sz="600" b="0" dirty="0"/>
              <a:t>(e.g. testing)</a:t>
            </a:r>
            <a:br>
              <a:rPr lang="en-US" sz="700" b="0" dirty="0"/>
            </a:br>
            <a:r>
              <a:rPr lang="en-US" sz="700" b="0" dirty="0"/>
              <a:t>Facilitated by C-X MDs</a:t>
            </a:r>
            <a:endParaRPr lang="en-US" b="0" dirty="0"/>
          </a:p>
        </p:txBody>
      </p:sp>
      <p:cxnSp>
        <p:nvCxnSpPr>
          <p:cNvPr id="22" name="Gewinkelte Verbindung 21">
            <a:extLst>
              <a:ext uri="{FF2B5EF4-FFF2-40B4-BE49-F238E27FC236}">
                <a16:creationId xmlns:a16="http://schemas.microsoft.com/office/drawing/2014/main" id="{702A9EEB-76E9-741D-E1F7-856534C1A9E5}"/>
              </a:ext>
            </a:extLst>
          </p:cNvPr>
          <p:cNvCxnSpPr>
            <a:cxnSpLocks/>
            <a:stCxn id="10" idx="1"/>
            <a:endCxn id="1067" idx="0"/>
          </p:cNvCxnSpPr>
          <p:nvPr/>
        </p:nvCxnSpPr>
        <p:spPr bwMode="gray">
          <a:xfrm rot="10800000" flipV="1">
            <a:off x="1954241" y="4250065"/>
            <a:ext cx="178941" cy="1073023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9" name="TextBox 34">
            <a:extLst>
              <a:ext uri="{FF2B5EF4-FFF2-40B4-BE49-F238E27FC236}">
                <a16:creationId xmlns:a16="http://schemas.microsoft.com/office/drawing/2014/main" id="{23086DEB-655A-6619-9EAF-9A7E9528393C}"/>
              </a:ext>
            </a:extLst>
          </p:cNvPr>
          <p:cNvSpPr txBox="1"/>
          <p:nvPr/>
        </p:nvSpPr>
        <p:spPr>
          <a:xfrm>
            <a:off x="3336594" y="4856304"/>
            <a:ext cx="1648815" cy="39703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inuous Alignment </a:t>
            </a:r>
            <a:br>
              <a:rPr lang="en-US" dirty="0"/>
            </a:br>
            <a:r>
              <a:rPr lang="en-US" sz="700" b="0" dirty="0"/>
              <a:t>C-X Committees / Expert Groups &amp; </a:t>
            </a:r>
            <a:br>
              <a:rPr lang="en-US" sz="700" b="0" dirty="0"/>
            </a:br>
            <a:r>
              <a:rPr lang="en-US" sz="700" b="0" dirty="0"/>
              <a:t>T-X Open-Source Developer*</a:t>
            </a:r>
            <a:endParaRPr lang="en-US" b="0" dirty="0"/>
          </a:p>
        </p:txBody>
      </p:sp>
      <p:sp>
        <p:nvSpPr>
          <p:cNvPr id="1064" name="Rechteck 5">
            <a:extLst>
              <a:ext uri="{FF2B5EF4-FFF2-40B4-BE49-F238E27FC236}">
                <a16:creationId xmlns:a16="http://schemas.microsoft.com/office/drawing/2014/main" id="{5E1597AB-478B-47F0-AF62-889F64FFB0B4}"/>
              </a:ext>
            </a:extLst>
          </p:cNvPr>
          <p:cNvSpPr/>
          <p:nvPr/>
        </p:nvSpPr>
        <p:spPr>
          <a:xfrm>
            <a:off x="1570341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65" name="Grafik 19">
            <a:extLst>
              <a:ext uri="{FF2B5EF4-FFF2-40B4-BE49-F238E27FC236}">
                <a16:creationId xmlns:a16="http://schemas.microsoft.com/office/drawing/2014/main" id="{73DF99D9-4320-F605-62FB-09754A764B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1600643" y="4486105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25" name="TextBox 34">
            <a:extLst>
              <a:ext uri="{FF2B5EF4-FFF2-40B4-BE49-F238E27FC236}">
                <a16:creationId xmlns:a16="http://schemas.microsoft.com/office/drawing/2014/main" id="{80DE1026-79E7-C23E-CBB0-03D65129951C}"/>
              </a:ext>
            </a:extLst>
          </p:cNvPr>
          <p:cNvSpPr txBox="1"/>
          <p:nvPr/>
        </p:nvSpPr>
        <p:spPr>
          <a:xfrm>
            <a:off x="1574516" y="3517379"/>
            <a:ext cx="1483230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Overall Release Mgmt</a:t>
            </a:r>
            <a:r>
              <a:rPr lang="en-US" sz="600" b="0" dirty="0"/>
              <a:t>.</a:t>
            </a:r>
            <a:br>
              <a:rPr lang="en-US" sz="700" b="0" dirty="0"/>
            </a:br>
            <a:r>
              <a:rPr lang="en-US" sz="700" b="0" dirty="0"/>
              <a:t>Facilitated by C-X MDs</a:t>
            </a:r>
            <a:endParaRPr lang="en-US" b="0" dirty="0"/>
          </a:p>
        </p:txBody>
      </p:sp>
      <p:pic>
        <p:nvPicPr>
          <p:cNvPr id="27" name="Grafik 26" descr="Männliches Profil mit einfarbiger Füllung">
            <a:extLst>
              <a:ext uri="{FF2B5EF4-FFF2-40B4-BE49-F238E27FC236}">
                <a16:creationId xmlns:a16="http://schemas.microsoft.com/office/drawing/2014/main" id="{DD8C81BA-D7A2-8DD4-5D11-3D5CA40DE44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7280" y="3637461"/>
            <a:ext cx="180000" cy="180000"/>
          </a:xfrm>
          <a:prstGeom prst="rect">
            <a:avLst/>
          </a:prstGeom>
        </p:spPr>
      </p:pic>
      <p:pic>
        <p:nvPicPr>
          <p:cNvPr id="28" name="Grafik 27" descr="Männliches Profil mit einfarbiger Füllung">
            <a:extLst>
              <a:ext uri="{FF2B5EF4-FFF2-40B4-BE49-F238E27FC236}">
                <a16:creationId xmlns:a16="http://schemas.microsoft.com/office/drawing/2014/main" id="{8AC93FB9-4BE1-BCCA-71A7-A4752084CA0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21250" y="3738171"/>
            <a:ext cx="180000" cy="180000"/>
          </a:xfrm>
          <a:prstGeom prst="rect">
            <a:avLst/>
          </a:prstGeom>
        </p:spPr>
      </p:pic>
      <p:pic>
        <p:nvPicPr>
          <p:cNvPr id="29" name="Grafik 28" descr="Männliches Profil mit einfarbiger Füllung">
            <a:extLst>
              <a:ext uri="{FF2B5EF4-FFF2-40B4-BE49-F238E27FC236}">
                <a16:creationId xmlns:a16="http://schemas.microsoft.com/office/drawing/2014/main" id="{C7F7BDE0-05BA-9E02-15B2-D0136052353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23019" y="4219849"/>
            <a:ext cx="180000" cy="180000"/>
          </a:xfrm>
          <a:prstGeom prst="rect">
            <a:avLst/>
          </a:prstGeom>
        </p:spPr>
      </p:pic>
      <p:pic>
        <p:nvPicPr>
          <p:cNvPr id="31" name="Grafik 30" descr="Gruppe mit einfarbiger Füllung">
            <a:extLst>
              <a:ext uri="{FF2B5EF4-FFF2-40B4-BE49-F238E27FC236}">
                <a16:creationId xmlns:a16="http://schemas.microsoft.com/office/drawing/2014/main" id="{877A57AA-D045-3971-634E-57866FE6C6F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45916" y="5067715"/>
            <a:ext cx="216000" cy="216000"/>
          </a:xfrm>
          <a:prstGeom prst="rect">
            <a:avLst/>
          </a:prstGeom>
        </p:spPr>
      </p:pic>
      <p:pic>
        <p:nvPicPr>
          <p:cNvPr id="2" name="Grafik 1" descr="Gruppe mit einfarbiger Füllung">
            <a:extLst>
              <a:ext uri="{FF2B5EF4-FFF2-40B4-BE49-F238E27FC236}">
                <a16:creationId xmlns:a16="http://schemas.microsoft.com/office/drawing/2014/main" id="{F74B7162-C8C5-0E52-B02B-A9EAE16CB67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65124" y="4449385"/>
            <a:ext cx="216000" cy="216000"/>
          </a:xfrm>
          <a:prstGeom prst="rect">
            <a:avLst/>
          </a:prstGeom>
        </p:spPr>
      </p:pic>
      <p:pic>
        <p:nvPicPr>
          <p:cNvPr id="8" name="Grafik 7" descr="Gruppe mit einfarbiger Füllung">
            <a:extLst>
              <a:ext uri="{FF2B5EF4-FFF2-40B4-BE49-F238E27FC236}">
                <a16:creationId xmlns:a16="http://schemas.microsoft.com/office/drawing/2014/main" id="{907CF94F-EB06-32A3-2302-9973EF07E53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67839" y="5301355"/>
            <a:ext cx="216000" cy="216000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7F00A9C-01AB-FA84-5AB8-D27625C920F8}"/>
              </a:ext>
            </a:extLst>
          </p:cNvPr>
          <p:cNvGrpSpPr/>
          <p:nvPr/>
        </p:nvGrpSpPr>
        <p:grpSpPr>
          <a:xfrm>
            <a:off x="1491222" y="6063503"/>
            <a:ext cx="2986231" cy="558678"/>
            <a:chOff x="1736813" y="6084353"/>
            <a:chExt cx="2986231" cy="558678"/>
          </a:xfrm>
        </p:grpSpPr>
        <p:sp>
          <p:nvSpPr>
            <p:cNvPr id="1156" name="Flowchart: Decision 150">
              <a:extLst>
                <a:ext uri="{FF2B5EF4-FFF2-40B4-BE49-F238E27FC236}">
                  <a16:creationId xmlns:a16="http://schemas.microsoft.com/office/drawing/2014/main" id="{E1390D78-9B72-F501-6BF0-B1340ED13AA8}"/>
                </a:ext>
              </a:extLst>
            </p:cNvPr>
            <p:cNvSpPr/>
            <p:nvPr/>
          </p:nvSpPr>
          <p:spPr>
            <a:xfrm>
              <a:off x="1736813" y="6084353"/>
              <a:ext cx="245803" cy="255634"/>
            </a:xfrm>
            <a:prstGeom prst="flowChartDecision">
              <a:avLst/>
            </a:prstGeom>
            <a:solidFill>
              <a:srgbClr val="FFC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1905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57" name="Flowchart: Decision 151">
              <a:extLst>
                <a:ext uri="{FF2B5EF4-FFF2-40B4-BE49-F238E27FC236}">
                  <a16:creationId xmlns:a16="http://schemas.microsoft.com/office/drawing/2014/main" id="{46682DC1-E8A7-6566-ED43-F91611085DE9}"/>
                </a:ext>
              </a:extLst>
            </p:cNvPr>
            <p:cNvSpPr/>
            <p:nvPr/>
          </p:nvSpPr>
          <p:spPr>
            <a:xfrm>
              <a:off x="1736813" y="6387397"/>
              <a:ext cx="245803" cy="255634"/>
            </a:xfrm>
            <a:prstGeom prst="flowChartDecision">
              <a:avLst/>
            </a:prstGeom>
            <a:solidFill>
              <a:srgbClr val="FFCA21">
                <a:lumMod val="50000"/>
              </a:srgbClr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58" name="TextBox 152">
              <a:extLst>
                <a:ext uri="{FF2B5EF4-FFF2-40B4-BE49-F238E27FC236}">
                  <a16:creationId xmlns:a16="http://schemas.microsoft.com/office/drawing/2014/main" id="{1A500A13-9520-DBD1-8500-FE53D3B47C67}"/>
                </a:ext>
              </a:extLst>
            </p:cNvPr>
            <p:cNvSpPr txBox="1"/>
            <p:nvPr/>
          </p:nvSpPr>
          <p:spPr>
            <a:xfrm>
              <a:off x="2028532" y="6089060"/>
              <a:ext cx="9989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ajor Ecosystem</a:t>
              </a:r>
            </a:p>
          </p:txBody>
        </p:sp>
        <p:sp>
          <p:nvSpPr>
            <p:cNvPr id="1159" name="TextBox 153">
              <a:extLst>
                <a:ext uri="{FF2B5EF4-FFF2-40B4-BE49-F238E27FC236}">
                  <a16:creationId xmlns:a16="http://schemas.microsoft.com/office/drawing/2014/main" id="{38925B26-DCD2-1D17-CDE4-3E95D9CDB83E}"/>
                </a:ext>
              </a:extLst>
            </p:cNvPr>
            <p:cNvSpPr txBox="1"/>
            <p:nvPr/>
          </p:nvSpPr>
          <p:spPr>
            <a:xfrm>
              <a:off x="2028532" y="6392104"/>
              <a:ext cx="10005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inor Ecosystem</a:t>
              </a:r>
            </a:p>
          </p:txBody>
        </p:sp>
        <p:sp>
          <p:nvSpPr>
            <p:cNvPr id="1160" name="Flowchart: Decision 165">
              <a:extLst>
                <a:ext uri="{FF2B5EF4-FFF2-40B4-BE49-F238E27FC236}">
                  <a16:creationId xmlns:a16="http://schemas.microsoft.com/office/drawing/2014/main" id="{47183C24-AEAC-1541-2B1C-9C25B985CB3E}"/>
                </a:ext>
              </a:extLst>
            </p:cNvPr>
            <p:cNvSpPr/>
            <p:nvPr/>
          </p:nvSpPr>
          <p:spPr>
            <a:xfrm>
              <a:off x="3524068" y="6084353"/>
              <a:ext cx="245803" cy="255634"/>
            </a:xfrm>
            <a:prstGeom prst="flowChartDecision">
              <a:avLst/>
            </a:prstGeom>
            <a:solidFill>
              <a:srgbClr val="C00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61" name="TextBox 166">
              <a:extLst>
                <a:ext uri="{FF2B5EF4-FFF2-40B4-BE49-F238E27FC236}">
                  <a16:creationId xmlns:a16="http://schemas.microsoft.com/office/drawing/2014/main" id="{0011E09B-800B-8237-5061-58CEE5B1DD3B}"/>
                </a:ext>
              </a:extLst>
            </p:cNvPr>
            <p:cNvSpPr txBox="1"/>
            <p:nvPr/>
          </p:nvSpPr>
          <p:spPr>
            <a:xfrm>
              <a:off x="3773745" y="6089060"/>
              <a:ext cx="9476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ajor Tractus-X</a:t>
              </a:r>
            </a:p>
          </p:txBody>
        </p:sp>
        <p:sp>
          <p:nvSpPr>
            <p:cNvPr id="1162" name="Flowchart: Decision 35">
              <a:extLst>
                <a:ext uri="{FF2B5EF4-FFF2-40B4-BE49-F238E27FC236}">
                  <a16:creationId xmlns:a16="http://schemas.microsoft.com/office/drawing/2014/main" id="{D1371556-D186-C651-1586-58C6076BE4C4}"/>
                </a:ext>
              </a:extLst>
            </p:cNvPr>
            <p:cNvSpPr/>
            <p:nvPr/>
          </p:nvSpPr>
          <p:spPr>
            <a:xfrm>
              <a:off x="3524068" y="6387397"/>
              <a:ext cx="245803" cy="255634"/>
            </a:xfrm>
            <a:prstGeom prst="flowChartDecision">
              <a:avLst/>
            </a:prstGeom>
            <a:solidFill>
              <a:srgbClr val="FF0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63" name="TextBox 36">
              <a:extLst>
                <a:ext uri="{FF2B5EF4-FFF2-40B4-BE49-F238E27FC236}">
                  <a16:creationId xmlns:a16="http://schemas.microsoft.com/office/drawing/2014/main" id="{4A41B4DE-F84A-655B-FFE4-4D7202D61EC6}"/>
                </a:ext>
              </a:extLst>
            </p:cNvPr>
            <p:cNvSpPr txBox="1"/>
            <p:nvPr/>
          </p:nvSpPr>
          <p:spPr>
            <a:xfrm>
              <a:off x="3773745" y="6392104"/>
              <a:ext cx="9492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>
                  <a:solidFill>
                    <a:srgbClr val="000000"/>
                  </a:solidFill>
                  <a:latin typeface="Manrope" pitchFamily="2" charset="0"/>
                </a:rPr>
                <a:t>Minor Tractus-X</a:t>
              </a:r>
            </a:p>
          </p:txBody>
        </p:sp>
      </p:grpSp>
      <p:pic>
        <p:nvPicPr>
          <p:cNvPr id="32" name="Grafik 19">
            <a:extLst>
              <a:ext uri="{FF2B5EF4-FFF2-40B4-BE49-F238E27FC236}">
                <a16:creationId xmlns:a16="http://schemas.microsoft.com/office/drawing/2014/main" id="{3425F2AB-C6A6-E44B-2B5D-98D48CFF7F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3049157" y="4485600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33" name="Grafik 19">
            <a:extLst>
              <a:ext uri="{FF2B5EF4-FFF2-40B4-BE49-F238E27FC236}">
                <a16:creationId xmlns:a16="http://schemas.microsoft.com/office/drawing/2014/main" id="{E79AC340-DA0E-1BF7-ECFE-FF138B321A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4493811" y="4485600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34" name="Grafik 19">
            <a:extLst>
              <a:ext uri="{FF2B5EF4-FFF2-40B4-BE49-F238E27FC236}">
                <a16:creationId xmlns:a16="http://schemas.microsoft.com/office/drawing/2014/main" id="{160AE529-2186-1E40-E26F-C220FB6EE6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5957757" y="4485600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35" name="Grafik 19">
            <a:extLst>
              <a:ext uri="{FF2B5EF4-FFF2-40B4-BE49-F238E27FC236}">
                <a16:creationId xmlns:a16="http://schemas.microsoft.com/office/drawing/2014/main" id="{E77855C0-3A0A-E43B-1CA0-C5B6DE5B93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7407198" y="4486356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36" name="Grafik 19">
            <a:extLst>
              <a:ext uri="{FF2B5EF4-FFF2-40B4-BE49-F238E27FC236}">
                <a16:creationId xmlns:a16="http://schemas.microsoft.com/office/drawing/2014/main" id="{52777FEF-1294-0609-2AC8-14858C8A14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8863943" y="4485600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37" name="Grafik 19">
            <a:extLst>
              <a:ext uri="{FF2B5EF4-FFF2-40B4-BE49-F238E27FC236}">
                <a16:creationId xmlns:a16="http://schemas.microsoft.com/office/drawing/2014/main" id="{AFEB1C78-B6D8-6784-752B-EA7C015E0F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50" t="4336" r="-3940" b="-8862"/>
          <a:stretch/>
        </p:blipFill>
        <p:spPr>
          <a:xfrm>
            <a:off x="10323490" y="4485600"/>
            <a:ext cx="737461" cy="183265"/>
          </a:xfrm>
          <a:prstGeom prst="rect">
            <a:avLst/>
          </a:prstGeom>
          <a:solidFill>
            <a:sysClr val="window" lastClr="FFFFFF"/>
          </a:solidFill>
        </p:spPr>
      </p:pic>
    </p:spTree>
    <p:extLst>
      <p:ext uri="{BB962C8B-B14F-4D97-AF65-F5344CB8AC3E}">
        <p14:creationId xmlns:p14="http://schemas.microsoft.com/office/powerpoint/2010/main" val="3643157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8D8AD0-5341-DC51-6980-6E7D47216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7" y="728748"/>
            <a:ext cx="10883145" cy="432000"/>
          </a:xfrm>
        </p:spPr>
        <p:txBody>
          <a:bodyPr/>
          <a:lstStyle/>
          <a:p>
            <a:r>
              <a:rPr lang="en-US"/>
              <a:t>Life Cycle Management – Impact of Breaking*-Chang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5BCE40-2ADF-47F8-2A2D-8CC93CA000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DF2D9-0E9C-44C1-9F88-571B4F8E5F65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.10.2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448D5D-428D-8A32-BD73-DEB65384CF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tel der Präs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EEB1E-AC44-F698-AE7D-43AB66D8A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FAF3F9-DB4A-4795-B69B-3AD29566E077}" type="slidenum">
              <a:rPr kumimoji="0" lang="de-DE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DA0DB7-9F76-54ED-45B9-A7CF831FE3B6}"/>
              </a:ext>
            </a:extLst>
          </p:cNvPr>
          <p:cNvCxnSpPr>
            <a:cxnSpLocks/>
          </p:cNvCxnSpPr>
          <p:nvPr/>
        </p:nvCxnSpPr>
        <p:spPr bwMode="gray">
          <a:xfrm>
            <a:off x="5039591" y="2038737"/>
            <a:ext cx="0" cy="39007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879425-E54E-E1D9-C711-929E4D57FD90}"/>
              </a:ext>
            </a:extLst>
          </p:cNvPr>
          <p:cNvSpPr txBox="1"/>
          <p:nvPr/>
        </p:nvSpPr>
        <p:spPr bwMode="gray">
          <a:xfrm>
            <a:off x="2171707" y="2038737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-Company-Chang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4D4C86-C4D4-6E72-4B54-7A9D0BC8CF5B}"/>
              </a:ext>
            </a:extLst>
          </p:cNvPr>
          <p:cNvSpPr txBox="1"/>
          <p:nvPr/>
        </p:nvSpPr>
        <p:spPr bwMode="gray">
          <a:xfrm>
            <a:off x="5800512" y="2042874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-Company-Chan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3EDF301-74E6-3EC6-417C-8315D8DF256C}"/>
              </a:ext>
            </a:extLst>
          </p:cNvPr>
          <p:cNvCxnSpPr>
            <a:cxnSpLocks/>
          </p:cNvCxnSpPr>
          <p:nvPr/>
        </p:nvCxnSpPr>
        <p:spPr bwMode="gray">
          <a:xfrm>
            <a:off x="8600210" y="2038737"/>
            <a:ext cx="0" cy="39007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AB6D8DB-E72F-9481-0498-4D9D5E044FFC}"/>
              </a:ext>
            </a:extLst>
          </p:cNvPr>
          <p:cNvSpPr txBox="1"/>
          <p:nvPr/>
        </p:nvSpPr>
        <p:spPr bwMode="gray">
          <a:xfrm>
            <a:off x="9429316" y="2042873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work-Chang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E2486E-9FF6-0449-58BF-E839B24118BE}"/>
              </a:ext>
            </a:extLst>
          </p:cNvPr>
          <p:cNvCxnSpPr>
            <a:cxnSpLocks/>
          </p:cNvCxnSpPr>
          <p:nvPr/>
        </p:nvCxnSpPr>
        <p:spPr bwMode="gray">
          <a:xfrm>
            <a:off x="1499558" y="2038737"/>
            <a:ext cx="0" cy="39024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F4DD1C-9A36-85E1-4589-8F2526EF67AD}"/>
              </a:ext>
            </a:extLst>
          </p:cNvPr>
          <p:cNvCxnSpPr>
            <a:cxnSpLocks/>
          </p:cNvCxnSpPr>
          <p:nvPr/>
        </p:nvCxnSpPr>
        <p:spPr bwMode="gray">
          <a:xfrm>
            <a:off x="1490224" y="2621299"/>
            <a:ext cx="1007485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EB12102B-6193-121B-D42B-05713D22F6BB}"/>
              </a:ext>
            </a:extLst>
          </p:cNvPr>
          <p:cNvGrpSpPr/>
          <p:nvPr/>
        </p:nvGrpSpPr>
        <p:grpSpPr>
          <a:xfrm>
            <a:off x="2501543" y="3331167"/>
            <a:ext cx="1536064" cy="1531564"/>
            <a:chOff x="2501543" y="2766384"/>
            <a:chExt cx="1536064" cy="1531564"/>
          </a:xfrm>
        </p:grpSpPr>
        <p:sp>
          <p:nvSpPr>
            <p:cNvPr id="33" name="Ellipse 3">
              <a:extLst>
                <a:ext uri="{FF2B5EF4-FFF2-40B4-BE49-F238E27FC236}">
                  <a16:creationId xmlns:a16="http://schemas.microsoft.com/office/drawing/2014/main" id="{3D0C09DE-7186-F750-507F-BE7AFE2522B9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Ellipse 7">
              <a:extLst>
                <a:ext uri="{FF2B5EF4-FFF2-40B4-BE49-F238E27FC236}">
                  <a16:creationId xmlns:a16="http://schemas.microsoft.com/office/drawing/2014/main" id="{D3EC5037-1AAB-C95F-A6B4-6AB50AEB3923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Ellipse 11">
              <a:extLst>
                <a:ext uri="{FF2B5EF4-FFF2-40B4-BE49-F238E27FC236}">
                  <a16:creationId xmlns:a16="http://schemas.microsoft.com/office/drawing/2014/main" id="{40626D68-7F75-904F-2AFD-227DDB379C97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Ellipse 12">
              <a:extLst>
                <a:ext uri="{FF2B5EF4-FFF2-40B4-BE49-F238E27FC236}">
                  <a16:creationId xmlns:a16="http://schemas.microsoft.com/office/drawing/2014/main" id="{03AC9748-09D2-B108-A6DE-2FB2D9AB6EB9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Ellipse 22">
              <a:extLst>
                <a:ext uri="{FF2B5EF4-FFF2-40B4-BE49-F238E27FC236}">
                  <a16:creationId xmlns:a16="http://schemas.microsoft.com/office/drawing/2014/main" id="{B79BD4DD-7975-2DDF-B84E-066BBBF2240C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Ellipse 24">
              <a:extLst>
                <a:ext uri="{FF2B5EF4-FFF2-40B4-BE49-F238E27FC236}">
                  <a16:creationId xmlns:a16="http://schemas.microsoft.com/office/drawing/2014/main" id="{DE052A2C-9FEA-C6A5-6CC0-C5F220DD302A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Ellipse 28">
              <a:extLst>
                <a:ext uri="{FF2B5EF4-FFF2-40B4-BE49-F238E27FC236}">
                  <a16:creationId xmlns:a16="http://schemas.microsoft.com/office/drawing/2014/main" id="{9F6BC96E-D365-F7D7-AA04-3B23A79877AC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Ellipse 31">
              <a:extLst>
                <a:ext uri="{FF2B5EF4-FFF2-40B4-BE49-F238E27FC236}">
                  <a16:creationId xmlns:a16="http://schemas.microsoft.com/office/drawing/2014/main" id="{803222DF-7ACD-AEE4-87E3-2AE1D236DEAE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Ellipse 32">
              <a:extLst>
                <a:ext uri="{FF2B5EF4-FFF2-40B4-BE49-F238E27FC236}">
                  <a16:creationId xmlns:a16="http://schemas.microsoft.com/office/drawing/2014/main" id="{F71B71B0-69E8-9993-34C1-C31CCB26DEE0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2" name="Gerader Verbinder 34">
              <a:extLst>
                <a:ext uri="{FF2B5EF4-FFF2-40B4-BE49-F238E27FC236}">
                  <a16:creationId xmlns:a16="http://schemas.microsoft.com/office/drawing/2014/main" id="{93B09384-AA14-535B-7867-9FFC6B286CBA}"/>
                </a:ext>
              </a:extLst>
            </p:cNvPr>
            <p:cNvCxnSpPr>
              <a:cxnSpLocks/>
              <a:stCxn id="35" idx="2"/>
              <a:endCxn id="37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3" name="Gerader Verbinder 45">
              <a:extLst>
                <a:ext uri="{FF2B5EF4-FFF2-40B4-BE49-F238E27FC236}">
                  <a16:creationId xmlns:a16="http://schemas.microsoft.com/office/drawing/2014/main" id="{123E36AC-D2D9-971A-97F2-9D83299CF842}"/>
                </a:ext>
              </a:extLst>
            </p:cNvPr>
            <p:cNvCxnSpPr>
              <a:cxnSpLocks/>
              <a:stCxn id="34" idx="1"/>
              <a:endCxn id="36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44" name="Ellipse 61">
              <a:extLst>
                <a:ext uri="{FF2B5EF4-FFF2-40B4-BE49-F238E27FC236}">
                  <a16:creationId xmlns:a16="http://schemas.microsoft.com/office/drawing/2014/main" id="{E8A0297A-9D04-8E6E-934C-77124CB3C934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5" name="Gerader Verbinder 62">
              <a:extLst>
                <a:ext uri="{FF2B5EF4-FFF2-40B4-BE49-F238E27FC236}">
                  <a16:creationId xmlns:a16="http://schemas.microsoft.com/office/drawing/2014/main" id="{1840A65B-5227-297F-9BE9-A95F18195DCF}"/>
                </a:ext>
              </a:extLst>
            </p:cNvPr>
            <p:cNvCxnSpPr>
              <a:cxnSpLocks/>
              <a:stCxn id="44" idx="1"/>
              <a:endCxn id="41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6" name="Gerader Verbinder 83">
              <a:extLst>
                <a:ext uri="{FF2B5EF4-FFF2-40B4-BE49-F238E27FC236}">
                  <a16:creationId xmlns:a16="http://schemas.microsoft.com/office/drawing/2014/main" id="{F0E054E4-6DB1-9068-10A6-2216E985A383}"/>
                </a:ext>
              </a:extLst>
            </p:cNvPr>
            <p:cNvCxnSpPr>
              <a:cxnSpLocks/>
              <a:stCxn id="44" idx="7"/>
              <a:endCxn id="35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7" name="Gerader Verbinder 34">
              <a:extLst>
                <a:ext uri="{FF2B5EF4-FFF2-40B4-BE49-F238E27FC236}">
                  <a16:creationId xmlns:a16="http://schemas.microsoft.com/office/drawing/2014/main" id="{459119C1-66EA-9141-7FE3-8AFDE113B1CD}"/>
                </a:ext>
              </a:extLst>
            </p:cNvPr>
            <p:cNvCxnSpPr>
              <a:cxnSpLocks/>
              <a:stCxn id="35" idx="2"/>
              <a:endCxn id="38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8" name="Gerader Verbinder 45">
              <a:extLst>
                <a:ext uri="{FF2B5EF4-FFF2-40B4-BE49-F238E27FC236}">
                  <a16:creationId xmlns:a16="http://schemas.microsoft.com/office/drawing/2014/main" id="{AABD1427-ECA4-7A5B-4467-8973747AB9A2}"/>
                </a:ext>
              </a:extLst>
            </p:cNvPr>
            <p:cNvCxnSpPr>
              <a:cxnSpLocks/>
              <a:stCxn id="39" idx="2"/>
              <a:endCxn id="36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9" name="Gerader Verbinder 45">
              <a:extLst>
                <a:ext uri="{FF2B5EF4-FFF2-40B4-BE49-F238E27FC236}">
                  <a16:creationId xmlns:a16="http://schemas.microsoft.com/office/drawing/2014/main" id="{3B7E4AFB-AFD2-DA78-B1A8-C3FFAD35DFE2}"/>
                </a:ext>
              </a:extLst>
            </p:cNvPr>
            <p:cNvCxnSpPr>
              <a:cxnSpLocks/>
              <a:stCxn id="40" idx="2"/>
              <a:endCxn id="36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50" name="Gerader Verbinder 45">
              <a:extLst>
                <a:ext uri="{FF2B5EF4-FFF2-40B4-BE49-F238E27FC236}">
                  <a16:creationId xmlns:a16="http://schemas.microsoft.com/office/drawing/2014/main" id="{0C4B3C07-2BFC-BC1A-BDA5-02516B015538}"/>
                </a:ext>
              </a:extLst>
            </p:cNvPr>
            <p:cNvCxnSpPr>
              <a:cxnSpLocks/>
              <a:stCxn id="41" idx="2"/>
              <a:endCxn id="36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70" name="Connector: Curved 69">
              <a:extLst>
                <a:ext uri="{FF2B5EF4-FFF2-40B4-BE49-F238E27FC236}">
                  <a16:creationId xmlns:a16="http://schemas.microsoft.com/office/drawing/2014/main" id="{1414335A-D2E1-6183-6CEA-36F00B7D0FF3}"/>
                </a:ext>
              </a:extLst>
            </p:cNvPr>
            <p:cNvCxnSpPr>
              <a:stCxn id="36" idx="6"/>
              <a:endCxn id="36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381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1" name="Gerader Verbinder 45">
              <a:extLst>
                <a:ext uri="{FF2B5EF4-FFF2-40B4-BE49-F238E27FC236}">
                  <a16:creationId xmlns:a16="http://schemas.microsoft.com/office/drawing/2014/main" id="{BC10B56A-FDEF-9CCC-52C7-97E06FB762AB}"/>
                </a:ext>
              </a:extLst>
            </p:cNvPr>
            <p:cNvCxnSpPr>
              <a:cxnSpLocks/>
              <a:stCxn id="40" idx="0"/>
              <a:endCxn id="39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4" name="Gerader Verbinder 45">
              <a:extLst>
                <a:ext uri="{FF2B5EF4-FFF2-40B4-BE49-F238E27FC236}">
                  <a16:creationId xmlns:a16="http://schemas.microsoft.com/office/drawing/2014/main" id="{E87901E1-386F-A698-F299-A7C63D4C4C3B}"/>
                </a:ext>
              </a:extLst>
            </p:cNvPr>
            <p:cNvCxnSpPr>
              <a:cxnSpLocks/>
              <a:stCxn id="37" idx="4"/>
              <a:endCxn id="38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7" name="Gerader Verbinder 45">
              <a:extLst>
                <a:ext uri="{FF2B5EF4-FFF2-40B4-BE49-F238E27FC236}">
                  <a16:creationId xmlns:a16="http://schemas.microsoft.com/office/drawing/2014/main" id="{0A21C615-1308-2E10-3F51-6A11EFF601A1}"/>
                </a:ext>
              </a:extLst>
            </p:cNvPr>
            <p:cNvCxnSpPr>
              <a:cxnSpLocks/>
              <a:stCxn id="40" idx="6"/>
              <a:endCxn id="37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0" name="Gerader Verbinder 45">
              <a:extLst>
                <a:ext uri="{FF2B5EF4-FFF2-40B4-BE49-F238E27FC236}">
                  <a16:creationId xmlns:a16="http://schemas.microsoft.com/office/drawing/2014/main" id="{FA370BC2-1900-7C8D-9776-92CED84E8FE8}"/>
                </a:ext>
              </a:extLst>
            </p:cNvPr>
            <p:cNvCxnSpPr>
              <a:cxnSpLocks/>
              <a:stCxn id="39" idx="7"/>
              <a:endCxn id="34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3" name="Gerader Verbinder 45">
              <a:extLst>
                <a:ext uri="{FF2B5EF4-FFF2-40B4-BE49-F238E27FC236}">
                  <a16:creationId xmlns:a16="http://schemas.microsoft.com/office/drawing/2014/main" id="{DED4C985-43CF-8AB9-CBB6-CB15935C610D}"/>
                </a:ext>
              </a:extLst>
            </p:cNvPr>
            <p:cNvCxnSpPr>
              <a:cxnSpLocks/>
              <a:stCxn id="40" idx="4"/>
              <a:endCxn id="41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6" name="Gerader Verbinder 45">
              <a:extLst>
                <a:ext uri="{FF2B5EF4-FFF2-40B4-BE49-F238E27FC236}">
                  <a16:creationId xmlns:a16="http://schemas.microsoft.com/office/drawing/2014/main" id="{8F11A281-5282-948C-9D09-A71AB830E781}"/>
                </a:ext>
              </a:extLst>
            </p:cNvPr>
            <p:cNvCxnSpPr>
              <a:cxnSpLocks/>
              <a:stCxn id="40" idx="5"/>
              <a:endCxn id="38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D99A1E3-5589-16BD-E077-E38492030DF4}"/>
              </a:ext>
            </a:extLst>
          </p:cNvPr>
          <p:cNvGrpSpPr/>
          <p:nvPr/>
        </p:nvGrpSpPr>
        <p:grpSpPr>
          <a:xfrm>
            <a:off x="6004381" y="3363189"/>
            <a:ext cx="1536064" cy="1531564"/>
            <a:chOff x="2501543" y="2766384"/>
            <a:chExt cx="1536064" cy="1531564"/>
          </a:xfrm>
        </p:grpSpPr>
        <p:sp>
          <p:nvSpPr>
            <p:cNvPr id="131" name="Ellipse 3">
              <a:extLst>
                <a:ext uri="{FF2B5EF4-FFF2-40B4-BE49-F238E27FC236}">
                  <a16:creationId xmlns:a16="http://schemas.microsoft.com/office/drawing/2014/main" id="{0A001420-DE56-7FC4-E333-3ACC6516BF16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Ellipse 7">
              <a:extLst>
                <a:ext uri="{FF2B5EF4-FFF2-40B4-BE49-F238E27FC236}">
                  <a16:creationId xmlns:a16="http://schemas.microsoft.com/office/drawing/2014/main" id="{D95C191A-E119-D471-2B16-5E3CA395C380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Ellipse 11">
              <a:extLst>
                <a:ext uri="{FF2B5EF4-FFF2-40B4-BE49-F238E27FC236}">
                  <a16:creationId xmlns:a16="http://schemas.microsoft.com/office/drawing/2014/main" id="{CA29A082-A673-BF24-2080-B7C373A724C6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Ellipse 12">
              <a:extLst>
                <a:ext uri="{FF2B5EF4-FFF2-40B4-BE49-F238E27FC236}">
                  <a16:creationId xmlns:a16="http://schemas.microsoft.com/office/drawing/2014/main" id="{8B51054F-ED74-2A0C-CABD-5ADA4FF89A07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Ellipse 22">
              <a:extLst>
                <a:ext uri="{FF2B5EF4-FFF2-40B4-BE49-F238E27FC236}">
                  <a16:creationId xmlns:a16="http://schemas.microsoft.com/office/drawing/2014/main" id="{3BB3F17B-5E5B-1297-C79B-3127BCF99E1E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Ellipse 24">
              <a:extLst>
                <a:ext uri="{FF2B5EF4-FFF2-40B4-BE49-F238E27FC236}">
                  <a16:creationId xmlns:a16="http://schemas.microsoft.com/office/drawing/2014/main" id="{840ECF77-B019-1A0E-64BA-44B561C7710E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Ellipse 28">
              <a:extLst>
                <a:ext uri="{FF2B5EF4-FFF2-40B4-BE49-F238E27FC236}">
                  <a16:creationId xmlns:a16="http://schemas.microsoft.com/office/drawing/2014/main" id="{97B70821-4EB8-01F8-3BC3-13824FCA7772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Ellipse 31">
              <a:extLst>
                <a:ext uri="{FF2B5EF4-FFF2-40B4-BE49-F238E27FC236}">
                  <a16:creationId xmlns:a16="http://schemas.microsoft.com/office/drawing/2014/main" id="{0A8599E6-038C-8BA3-40CB-AD389FAE8FB5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Ellipse 32">
              <a:extLst>
                <a:ext uri="{FF2B5EF4-FFF2-40B4-BE49-F238E27FC236}">
                  <a16:creationId xmlns:a16="http://schemas.microsoft.com/office/drawing/2014/main" id="{A68BA2E2-9D16-0D0C-27DF-F74D710C749E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0" name="Gerader Verbinder 34">
              <a:extLst>
                <a:ext uri="{FF2B5EF4-FFF2-40B4-BE49-F238E27FC236}">
                  <a16:creationId xmlns:a16="http://schemas.microsoft.com/office/drawing/2014/main" id="{400C0C13-3E29-B00C-5EF7-563F8001FE99}"/>
                </a:ext>
              </a:extLst>
            </p:cNvPr>
            <p:cNvCxnSpPr>
              <a:cxnSpLocks/>
              <a:stCxn id="133" idx="2"/>
              <a:endCxn id="135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1" name="Gerader Verbinder 45">
              <a:extLst>
                <a:ext uri="{FF2B5EF4-FFF2-40B4-BE49-F238E27FC236}">
                  <a16:creationId xmlns:a16="http://schemas.microsoft.com/office/drawing/2014/main" id="{FCF37F59-0468-FA42-E9C1-A673D8DE799C}"/>
                </a:ext>
              </a:extLst>
            </p:cNvPr>
            <p:cNvCxnSpPr>
              <a:cxnSpLocks/>
              <a:stCxn id="132" idx="1"/>
              <a:endCxn id="134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142" name="Ellipse 61">
              <a:extLst>
                <a:ext uri="{FF2B5EF4-FFF2-40B4-BE49-F238E27FC236}">
                  <a16:creationId xmlns:a16="http://schemas.microsoft.com/office/drawing/2014/main" id="{5B33370A-61A6-3C87-360B-EFA9F090FCD1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3" name="Gerader Verbinder 62">
              <a:extLst>
                <a:ext uri="{FF2B5EF4-FFF2-40B4-BE49-F238E27FC236}">
                  <a16:creationId xmlns:a16="http://schemas.microsoft.com/office/drawing/2014/main" id="{FC45F955-B139-43C9-5D82-7795E31CA2AB}"/>
                </a:ext>
              </a:extLst>
            </p:cNvPr>
            <p:cNvCxnSpPr>
              <a:cxnSpLocks/>
              <a:stCxn id="142" idx="1"/>
              <a:endCxn id="139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4" name="Gerader Verbinder 83">
              <a:extLst>
                <a:ext uri="{FF2B5EF4-FFF2-40B4-BE49-F238E27FC236}">
                  <a16:creationId xmlns:a16="http://schemas.microsoft.com/office/drawing/2014/main" id="{B7228F65-1623-0739-345C-E2207E867D32}"/>
                </a:ext>
              </a:extLst>
            </p:cNvPr>
            <p:cNvCxnSpPr>
              <a:cxnSpLocks/>
              <a:stCxn id="142" idx="7"/>
              <a:endCxn id="133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5" name="Gerader Verbinder 34">
              <a:extLst>
                <a:ext uri="{FF2B5EF4-FFF2-40B4-BE49-F238E27FC236}">
                  <a16:creationId xmlns:a16="http://schemas.microsoft.com/office/drawing/2014/main" id="{CFE51BF7-A436-D2FB-BAC6-E0E6F024388A}"/>
                </a:ext>
              </a:extLst>
            </p:cNvPr>
            <p:cNvCxnSpPr>
              <a:cxnSpLocks/>
              <a:stCxn id="133" idx="2"/>
              <a:endCxn id="136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6" name="Gerader Verbinder 45">
              <a:extLst>
                <a:ext uri="{FF2B5EF4-FFF2-40B4-BE49-F238E27FC236}">
                  <a16:creationId xmlns:a16="http://schemas.microsoft.com/office/drawing/2014/main" id="{51F03EDA-26FC-4ADB-CE10-C9153A850ED3}"/>
                </a:ext>
              </a:extLst>
            </p:cNvPr>
            <p:cNvCxnSpPr>
              <a:cxnSpLocks/>
              <a:stCxn id="137" idx="2"/>
              <a:endCxn id="134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7" name="Gerader Verbinder 45">
              <a:extLst>
                <a:ext uri="{FF2B5EF4-FFF2-40B4-BE49-F238E27FC236}">
                  <a16:creationId xmlns:a16="http://schemas.microsoft.com/office/drawing/2014/main" id="{754E49A2-5FD4-36C8-05DE-87BBF3B48773}"/>
                </a:ext>
              </a:extLst>
            </p:cNvPr>
            <p:cNvCxnSpPr>
              <a:cxnSpLocks/>
              <a:stCxn id="138" idx="2"/>
              <a:endCxn id="134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8" name="Gerader Verbinder 45">
              <a:extLst>
                <a:ext uri="{FF2B5EF4-FFF2-40B4-BE49-F238E27FC236}">
                  <a16:creationId xmlns:a16="http://schemas.microsoft.com/office/drawing/2014/main" id="{90AB78A8-4CEF-09A0-2A94-FEB79F764521}"/>
                </a:ext>
              </a:extLst>
            </p:cNvPr>
            <p:cNvCxnSpPr>
              <a:cxnSpLocks/>
              <a:stCxn id="139" idx="2"/>
              <a:endCxn id="134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9" name="Connector: Curved 148">
              <a:extLst>
                <a:ext uri="{FF2B5EF4-FFF2-40B4-BE49-F238E27FC236}">
                  <a16:creationId xmlns:a16="http://schemas.microsoft.com/office/drawing/2014/main" id="{F4B9AE0B-4B84-1A1F-1D59-A097CA39F66D}"/>
                </a:ext>
              </a:extLst>
            </p:cNvPr>
            <p:cNvCxnSpPr>
              <a:stCxn id="134" idx="6"/>
              <a:endCxn id="134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0" name="Gerader Verbinder 45">
              <a:extLst>
                <a:ext uri="{FF2B5EF4-FFF2-40B4-BE49-F238E27FC236}">
                  <a16:creationId xmlns:a16="http://schemas.microsoft.com/office/drawing/2014/main" id="{B6676734-808E-C79E-2B21-1EDBFDB8A314}"/>
                </a:ext>
              </a:extLst>
            </p:cNvPr>
            <p:cNvCxnSpPr>
              <a:cxnSpLocks/>
              <a:stCxn id="138" idx="0"/>
              <a:endCxn id="137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1" name="Gerader Verbinder 45">
              <a:extLst>
                <a:ext uri="{FF2B5EF4-FFF2-40B4-BE49-F238E27FC236}">
                  <a16:creationId xmlns:a16="http://schemas.microsoft.com/office/drawing/2014/main" id="{E8F705F0-1455-8FA1-8A48-193859D301E0}"/>
                </a:ext>
              </a:extLst>
            </p:cNvPr>
            <p:cNvCxnSpPr>
              <a:cxnSpLocks/>
              <a:stCxn id="135" idx="4"/>
              <a:endCxn id="136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2" name="Gerader Verbinder 45">
              <a:extLst>
                <a:ext uri="{FF2B5EF4-FFF2-40B4-BE49-F238E27FC236}">
                  <a16:creationId xmlns:a16="http://schemas.microsoft.com/office/drawing/2014/main" id="{F43A656B-4727-15B3-173D-1FFFDDC06789}"/>
                </a:ext>
              </a:extLst>
            </p:cNvPr>
            <p:cNvCxnSpPr>
              <a:cxnSpLocks/>
              <a:stCxn id="138" idx="6"/>
              <a:endCxn id="135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3" name="Gerader Verbinder 45">
              <a:extLst>
                <a:ext uri="{FF2B5EF4-FFF2-40B4-BE49-F238E27FC236}">
                  <a16:creationId xmlns:a16="http://schemas.microsoft.com/office/drawing/2014/main" id="{7183CEAA-252F-430A-A056-A39326D2B0A6}"/>
                </a:ext>
              </a:extLst>
            </p:cNvPr>
            <p:cNvCxnSpPr>
              <a:cxnSpLocks/>
              <a:stCxn id="137" idx="7"/>
              <a:endCxn id="132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4" name="Gerader Verbinder 45">
              <a:extLst>
                <a:ext uri="{FF2B5EF4-FFF2-40B4-BE49-F238E27FC236}">
                  <a16:creationId xmlns:a16="http://schemas.microsoft.com/office/drawing/2014/main" id="{926F4E34-744C-664A-4869-D73968E3D8F8}"/>
                </a:ext>
              </a:extLst>
            </p:cNvPr>
            <p:cNvCxnSpPr>
              <a:cxnSpLocks/>
              <a:stCxn id="138" idx="4"/>
              <a:endCxn id="139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5" name="Gerader Verbinder 45">
              <a:extLst>
                <a:ext uri="{FF2B5EF4-FFF2-40B4-BE49-F238E27FC236}">
                  <a16:creationId xmlns:a16="http://schemas.microsoft.com/office/drawing/2014/main" id="{59BD7E4A-FEAA-9694-4F22-3F81387A471B}"/>
                </a:ext>
              </a:extLst>
            </p:cNvPr>
            <p:cNvCxnSpPr>
              <a:cxnSpLocks/>
              <a:stCxn id="138" idx="5"/>
              <a:endCxn id="136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3DC4175A-2BEC-02D4-7060-FFBCB92C0807}"/>
              </a:ext>
            </a:extLst>
          </p:cNvPr>
          <p:cNvGrpSpPr/>
          <p:nvPr/>
        </p:nvGrpSpPr>
        <p:grpSpPr>
          <a:xfrm>
            <a:off x="9502220" y="3336365"/>
            <a:ext cx="1536064" cy="1531564"/>
            <a:chOff x="2501543" y="2766384"/>
            <a:chExt cx="1536064" cy="1531564"/>
          </a:xfrm>
        </p:grpSpPr>
        <p:sp>
          <p:nvSpPr>
            <p:cNvPr id="157" name="Ellipse 3">
              <a:extLst>
                <a:ext uri="{FF2B5EF4-FFF2-40B4-BE49-F238E27FC236}">
                  <a16:creationId xmlns:a16="http://schemas.microsoft.com/office/drawing/2014/main" id="{38B4FD54-CDE6-14C6-B9EA-4EAC77819D74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Ellipse 7">
              <a:extLst>
                <a:ext uri="{FF2B5EF4-FFF2-40B4-BE49-F238E27FC236}">
                  <a16:creationId xmlns:a16="http://schemas.microsoft.com/office/drawing/2014/main" id="{718D407C-D3E0-5E91-5348-AEA448A356CA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Ellipse 11">
              <a:extLst>
                <a:ext uri="{FF2B5EF4-FFF2-40B4-BE49-F238E27FC236}">
                  <a16:creationId xmlns:a16="http://schemas.microsoft.com/office/drawing/2014/main" id="{BADB5F78-B705-FBD8-EB1B-E0BCD3251D84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Ellipse 12">
              <a:extLst>
                <a:ext uri="{FF2B5EF4-FFF2-40B4-BE49-F238E27FC236}">
                  <a16:creationId xmlns:a16="http://schemas.microsoft.com/office/drawing/2014/main" id="{2773BB6A-079C-5CED-B5BB-1CB2A0834442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Ellipse 22">
              <a:extLst>
                <a:ext uri="{FF2B5EF4-FFF2-40B4-BE49-F238E27FC236}">
                  <a16:creationId xmlns:a16="http://schemas.microsoft.com/office/drawing/2014/main" id="{76DFEE0F-6272-2878-BB69-C034C5CFEE3A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Ellipse 24">
              <a:extLst>
                <a:ext uri="{FF2B5EF4-FFF2-40B4-BE49-F238E27FC236}">
                  <a16:creationId xmlns:a16="http://schemas.microsoft.com/office/drawing/2014/main" id="{E741B9E4-F4CE-A789-F9DB-900E92F5FEFC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Ellipse 28">
              <a:extLst>
                <a:ext uri="{FF2B5EF4-FFF2-40B4-BE49-F238E27FC236}">
                  <a16:creationId xmlns:a16="http://schemas.microsoft.com/office/drawing/2014/main" id="{83604925-FAED-363D-D7C5-68508D8CFA93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Ellipse 31">
              <a:extLst>
                <a:ext uri="{FF2B5EF4-FFF2-40B4-BE49-F238E27FC236}">
                  <a16:creationId xmlns:a16="http://schemas.microsoft.com/office/drawing/2014/main" id="{99A83DBA-6C15-06AD-5099-1799E082984E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Ellipse 32">
              <a:extLst>
                <a:ext uri="{FF2B5EF4-FFF2-40B4-BE49-F238E27FC236}">
                  <a16:creationId xmlns:a16="http://schemas.microsoft.com/office/drawing/2014/main" id="{DE15C522-F802-3652-4A8C-014448431707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66" name="Gerader Verbinder 34">
              <a:extLst>
                <a:ext uri="{FF2B5EF4-FFF2-40B4-BE49-F238E27FC236}">
                  <a16:creationId xmlns:a16="http://schemas.microsoft.com/office/drawing/2014/main" id="{8FEF0811-9CB1-2FCB-235E-9552361F3893}"/>
                </a:ext>
              </a:extLst>
            </p:cNvPr>
            <p:cNvCxnSpPr>
              <a:cxnSpLocks/>
              <a:stCxn id="159" idx="2"/>
              <a:endCxn id="161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67" name="Gerader Verbinder 45">
              <a:extLst>
                <a:ext uri="{FF2B5EF4-FFF2-40B4-BE49-F238E27FC236}">
                  <a16:creationId xmlns:a16="http://schemas.microsoft.com/office/drawing/2014/main" id="{2296B84B-2BC6-C01B-83D0-6B94FE2A4C7E}"/>
                </a:ext>
              </a:extLst>
            </p:cNvPr>
            <p:cNvCxnSpPr>
              <a:cxnSpLocks/>
              <a:stCxn id="158" idx="1"/>
              <a:endCxn id="160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168" name="Ellipse 61">
              <a:extLst>
                <a:ext uri="{FF2B5EF4-FFF2-40B4-BE49-F238E27FC236}">
                  <a16:creationId xmlns:a16="http://schemas.microsoft.com/office/drawing/2014/main" id="{F9662052-D9C6-9072-D470-B1A0DA7ED4B2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69" name="Gerader Verbinder 62">
              <a:extLst>
                <a:ext uri="{FF2B5EF4-FFF2-40B4-BE49-F238E27FC236}">
                  <a16:creationId xmlns:a16="http://schemas.microsoft.com/office/drawing/2014/main" id="{7FECAF09-F09F-D4E0-BFCA-5B6830D6536E}"/>
                </a:ext>
              </a:extLst>
            </p:cNvPr>
            <p:cNvCxnSpPr>
              <a:cxnSpLocks/>
              <a:stCxn id="168" idx="1"/>
              <a:endCxn id="165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0" name="Gerader Verbinder 83">
              <a:extLst>
                <a:ext uri="{FF2B5EF4-FFF2-40B4-BE49-F238E27FC236}">
                  <a16:creationId xmlns:a16="http://schemas.microsoft.com/office/drawing/2014/main" id="{F6F8CD80-1499-A1A3-2B06-8606DD7A79C7}"/>
                </a:ext>
              </a:extLst>
            </p:cNvPr>
            <p:cNvCxnSpPr>
              <a:cxnSpLocks/>
              <a:stCxn id="168" idx="7"/>
              <a:endCxn id="159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1" name="Gerader Verbinder 34">
              <a:extLst>
                <a:ext uri="{FF2B5EF4-FFF2-40B4-BE49-F238E27FC236}">
                  <a16:creationId xmlns:a16="http://schemas.microsoft.com/office/drawing/2014/main" id="{0BE0D370-71EC-8094-ADB0-E0E2FB1AA3EB}"/>
                </a:ext>
              </a:extLst>
            </p:cNvPr>
            <p:cNvCxnSpPr>
              <a:cxnSpLocks/>
              <a:stCxn id="159" idx="2"/>
              <a:endCxn id="162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2" name="Gerader Verbinder 45">
              <a:extLst>
                <a:ext uri="{FF2B5EF4-FFF2-40B4-BE49-F238E27FC236}">
                  <a16:creationId xmlns:a16="http://schemas.microsoft.com/office/drawing/2014/main" id="{349A29C6-B633-F41D-E3BB-2906D0247B61}"/>
                </a:ext>
              </a:extLst>
            </p:cNvPr>
            <p:cNvCxnSpPr>
              <a:cxnSpLocks/>
              <a:stCxn id="163" idx="2"/>
              <a:endCxn id="160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3" name="Gerader Verbinder 45">
              <a:extLst>
                <a:ext uri="{FF2B5EF4-FFF2-40B4-BE49-F238E27FC236}">
                  <a16:creationId xmlns:a16="http://schemas.microsoft.com/office/drawing/2014/main" id="{D4487C73-4A1B-E6EC-E2DD-B9E309E2D914}"/>
                </a:ext>
              </a:extLst>
            </p:cNvPr>
            <p:cNvCxnSpPr>
              <a:cxnSpLocks/>
              <a:stCxn id="164" idx="2"/>
              <a:endCxn id="160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4" name="Gerader Verbinder 45">
              <a:extLst>
                <a:ext uri="{FF2B5EF4-FFF2-40B4-BE49-F238E27FC236}">
                  <a16:creationId xmlns:a16="http://schemas.microsoft.com/office/drawing/2014/main" id="{6010BAC7-7249-1CF7-3452-6953D419A17B}"/>
                </a:ext>
              </a:extLst>
            </p:cNvPr>
            <p:cNvCxnSpPr>
              <a:cxnSpLocks/>
              <a:stCxn id="165" idx="2"/>
              <a:endCxn id="160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5" name="Connector: Curved 174">
              <a:extLst>
                <a:ext uri="{FF2B5EF4-FFF2-40B4-BE49-F238E27FC236}">
                  <a16:creationId xmlns:a16="http://schemas.microsoft.com/office/drawing/2014/main" id="{BA18ADB7-50FC-4D2D-5C69-4396F782036C}"/>
                </a:ext>
              </a:extLst>
            </p:cNvPr>
            <p:cNvCxnSpPr>
              <a:stCxn id="160" idx="6"/>
              <a:endCxn id="160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6" name="Gerader Verbinder 45">
              <a:extLst>
                <a:ext uri="{FF2B5EF4-FFF2-40B4-BE49-F238E27FC236}">
                  <a16:creationId xmlns:a16="http://schemas.microsoft.com/office/drawing/2014/main" id="{2B97D00D-609F-1AF6-886A-027C6602DA32}"/>
                </a:ext>
              </a:extLst>
            </p:cNvPr>
            <p:cNvCxnSpPr>
              <a:cxnSpLocks/>
              <a:stCxn id="164" idx="0"/>
              <a:endCxn id="163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7" name="Gerader Verbinder 45">
              <a:extLst>
                <a:ext uri="{FF2B5EF4-FFF2-40B4-BE49-F238E27FC236}">
                  <a16:creationId xmlns:a16="http://schemas.microsoft.com/office/drawing/2014/main" id="{C5CED7F5-097A-F87D-8DC1-570C15E16197}"/>
                </a:ext>
              </a:extLst>
            </p:cNvPr>
            <p:cNvCxnSpPr>
              <a:cxnSpLocks/>
              <a:stCxn id="161" idx="4"/>
              <a:endCxn id="162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8" name="Gerader Verbinder 45">
              <a:extLst>
                <a:ext uri="{FF2B5EF4-FFF2-40B4-BE49-F238E27FC236}">
                  <a16:creationId xmlns:a16="http://schemas.microsoft.com/office/drawing/2014/main" id="{366185D7-7F88-E4E5-674C-5ED14F24CD75}"/>
                </a:ext>
              </a:extLst>
            </p:cNvPr>
            <p:cNvCxnSpPr>
              <a:cxnSpLocks/>
              <a:stCxn id="164" idx="6"/>
              <a:endCxn id="161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9" name="Gerader Verbinder 45">
              <a:extLst>
                <a:ext uri="{FF2B5EF4-FFF2-40B4-BE49-F238E27FC236}">
                  <a16:creationId xmlns:a16="http://schemas.microsoft.com/office/drawing/2014/main" id="{FB43EDA1-9A2D-549C-64D1-70444579C340}"/>
                </a:ext>
              </a:extLst>
            </p:cNvPr>
            <p:cNvCxnSpPr>
              <a:cxnSpLocks/>
              <a:stCxn id="163" idx="7"/>
              <a:endCxn id="158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80" name="Gerader Verbinder 45">
              <a:extLst>
                <a:ext uri="{FF2B5EF4-FFF2-40B4-BE49-F238E27FC236}">
                  <a16:creationId xmlns:a16="http://schemas.microsoft.com/office/drawing/2014/main" id="{B55B10AC-1648-5811-409A-BC6E7231AD57}"/>
                </a:ext>
              </a:extLst>
            </p:cNvPr>
            <p:cNvCxnSpPr>
              <a:cxnSpLocks/>
              <a:stCxn id="164" idx="4"/>
              <a:endCxn id="165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81" name="Gerader Verbinder 45">
              <a:extLst>
                <a:ext uri="{FF2B5EF4-FFF2-40B4-BE49-F238E27FC236}">
                  <a16:creationId xmlns:a16="http://schemas.microsoft.com/office/drawing/2014/main" id="{9BFA7CFA-72D3-2370-9E0C-3C032A2AF653}"/>
                </a:ext>
              </a:extLst>
            </p:cNvPr>
            <p:cNvCxnSpPr>
              <a:cxnSpLocks/>
              <a:stCxn id="164" idx="5"/>
              <a:endCxn id="162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82" name="Gruppieren 93">
            <a:extLst>
              <a:ext uri="{FF2B5EF4-FFF2-40B4-BE49-F238E27FC236}">
                <a16:creationId xmlns:a16="http://schemas.microsoft.com/office/drawing/2014/main" id="{112590C0-D1C4-F607-3056-AC350E3CBF8F}"/>
              </a:ext>
            </a:extLst>
          </p:cNvPr>
          <p:cNvGrpSpPr/>
          <p:nvPr/>
        </p:nvGrpSpPr>
        <p:grpSpPr>
          <a:xfrm>
            <a:off x="10070805" y="1221522"/>
            <a:ext cx="1967116" cy="705927"/>
            <a:chOff x="321971" y="5417978"/>
            <a:chExt cx="2045573" cy="705927"/>
          </a:xfrm>
        </p:grpSpPr>
        <p:sp>
          <p:nvSpPr>
            <p:cNvPr id="183" name="Rechteck 92">
              <a:extLst>
                <a:ext uri="{FF2B5EF4-FFF2-40B4-BE49-F238E27FC236}">
                  <a16:creationId xmlns:a16="http://schemas.microsoft.com/office/drawing/2014/main" id="{46D93097-5E8E-D0F6-1CF6-3A7D8930B758}"/>
                </a:ext>
              </a:extLst>
            </p:cNvPr>
            <p:cNvSpPr/>
            <p:nvPr/>
          </p:nvSpPr>
          <p:spPr>
            <a:xfrm>
              <a:off x="321971" y="5417978"/>
              <a:ext cx="2045573" cy="7059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Ellipse 15">
              <a:extLst>
                <a:ext uri="{FF2B5EF4-FFF2-40B4-BE49-F238E27FC236}">
                  <a16:creationId xmlns:a16="http://schemas.microsoft.com/office/drawing/2014/main" id="{E8300369-7067-E42E-2E7B-FE5F6CF7A775}"/>
                </a:ext>
              </a:extLst>
            </p:cNvPr>
            <p:cNvSpPr/>
            <p:nvPr/>
          </p:nvSpPr>
          <p:spPr>
            <a:xfrm>
              <a:off x="450737" y="557416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Ellipse 16">
              <a:extLst>
                <a:ext uri="{FF2B5EF4-FFF2-40B4-BE49-F238E27FC236}">
                  <a16:creationId xmlns:a16="http://schemas.microsoft.com/office/drawing/2014/main" id="{9656CE3F-0FF7-144E-A34E-6145ED58B1B0}"/>
                </a:ext>
              </a:extLst>
            </p:cNvPr>
            <p:cNvSpPr/>
            <p:nvPr/>
          </p:nvSpPr>
          <p:spPr>
            <a:xfrm>
              <a:off x="450738" y="5844082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Textfeld 18">
              <a:extLst>
                <a:ext uri="{FF2B5EF4-FFF2-40B4-BE49-F238E27FC236}">
                  <a16:creationId xmlns:a16="http://schemas.microsoft.com/office/drawing/2014/main" id="{3B1EE178-649B-A441-E116-E16DFE279D96}"/>
                </a:ext>
              </a:extLst>
            </p:cNvPr>
            <p:cNvSpPr txBox="1"/>
            <p:nvPr/>
          </p:nvSpPr>
          <p:spPr>
            <a:xfrm>
              <a:off x="657747" y="5556991"/>
              <a:ext cx="1709797" cy="504295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CP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perating Company</a:t>
              </a:r>
            </a:p>
          </p:txBody>
        </p:sp>
      </p:grpSp>
      <p:sp>
        <p:nvSpPr>
          <p:cNvPr id="187" name="TextBox 186">
            <a:extLst>
              <a:ext uri="{FF2B5EF4-FFF2-40B4-BE49-F238E27FC236}">
                <a16:creationId xmlns:a16="http://schemas.microsoft.com/office/drawing/2014/main" id="{B7469C28-ECDB-D12D-AF55-B121B783CF35}"/>
              </a:ext>
            </a:extLst>
          </p:cNvPr>
          <p:cNvSpPr txBox="1"/>
          <p:nvPr/>
        </p:nvSpPr>
        <p:spPr bwMode="gray">
          <a:xfrm>
            <a:off x="5564473" y="6624607"/>
            <a:ext cx="6560469" cy="196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Breaking change def. according to </a:t>
            </a: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mVer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.g.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MAJOR version when you make incompatible API chang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23C6E158-3641-AFAE-F0F7-CFB755F6CC5B}"/>
              </a:ext>
            </a:extLst>
          </p:cNvPr>
          <p:cNvCxnSpPr>
            <a:stCxn id="34" idx="0"/>
            <a:endCxn id="34" idx="6"/>
          </p:cNvCxnSpPr>
          <p:nvPr/>
        </p:nvCxnSpPr>
        <p:spPr bwMode="gray">
          <a:xfrm rot="16200000" flipH="1">
            <a:off x="3356129" y="3782852"/>
            <a:ext cx="67614" cy="70833"/>
          </a:xfrm>
          <a:prstGeom prst="curvedConnector4">
            <a:avLst>
              <a:gd name="adj1" fmla="val -101429"/>
              <a:gd name="adj2" fmla="val 191440"/>
            </a:avLst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52" name="Connector: Curved 51">
            <a:extLst>
              <a:ext uri="{FF2B5EF4-FFF2-40B4-BE49-F238E27FC236}">
                <a16:creationId xmlns:a16="http://schemas.microsoft.com/office/drawing/2014/main" id="{1243B83A-918C-CBF3-9C29-CCDD8D26EB5B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858968" y="3814875"/>
            <a:ext cx="67614" cy="70833"/>
          </a:xfrm>
          <a:prstGeom prst="curvedConnector4">
            <a:avLst>
              <a:gd name="adj1" fmla="val -112699"/>
              <a:gd name="adj2" fmla="val 226403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62CB1BCB-A51D-56A6-5593-78D6F7E4AB02}"/>
              </a:ext>
            </a:extLst>
          </p:cNvPr>
          <p:cNvCxnSpPr>
            <a:cxnSpLocks/>
            <a:stCxn id="158" idx="0"/>
            <a:endCxn id="158" idx="6"/>
          </p:cNvCxnSpPr>
          <p:nvPr/>
        </p:nvCxnSpPr>
        <p:spPr bwMode="gray">
          <a:xfrm rot="16200000" flipH="1">
            <a:off x="10356806" y="3788050"/>
            <a:ext cx="67614" cy="70833"/>
          </a:xfrm>
          <a:prstGeom prst="curvedConnector4">
            <a:avLst>
              <a:gd name="adj1" fmla="val -56349"/>
              <a:gd name="adj2" fmla="val 19144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011809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57D57-E6B0-6548-96C1-58D371E9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BE9224-CC26-C246-832B-8666E01C9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0" y="532625"/>
            <a:ext cx="11200051" cy="561910"/>
          </a:xfrm>
        </p:spPr>
        <p:txBody>
          <a:bodyPr/>
          <a:lstStyle/>
          <a:p>
            <a:r>
              <a:rPr lang="en-US">
                <a:cs typeface="Arial"/>
              </a:rPr>
              <a:t>Version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89C9084-971D-EF40-9819-8D8A70BDE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7" name="Vertikaler Textplatzhalter 6">
            <a:extLst>
              <a:ext uri="{FF2B5EF4-FFF2-40B4-BE49-F238E27FC236}">
                <a16:creationId xmlns:a16="http://schemas.microsoft.com/office/drawing/2014/main" id="{3C9B0F74-BB3F-2D47-870A-5E43BBC95756}"/>
              </a:ext>
            </a:extLst>
          </p:cNvPr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3EA1012-C1E3-09E6-9F5D-5454DCFD1DF5}"/>
              </a:ext>
            </a:extLst>
          </p:cNvPr>
          <p:cNvSpPr/>
          <p:nvPr/>
        </p:nvSpPr>
        <p:spPr>
          <a:xfrm>
            <a:off x="3909468" y="2709993"/>
            <a:ext cx="1634566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8" b="1">
                <a:solidFill>
                  <a:srgbClr val="000000"/>
                </a:solidFill>
                <a:latin typeface="Manrope" pitchFamily="2" charset="0"/>
              </a:rPr>
              <a:t>Catena-X </a:t>
            </a:r>
            <a:br>
              <a:rPr lang="de-DE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de-DE" sz="1058" b="1">
                <a:solidFill>
                  <a:srgbClr val="000000"/>
                </a:solidFill>
                <a:latin typeface="Manrope" pitchFamily="2" charset="0"/>
              </a:rPr>
              <a:t>Release</a:t>
            </a:r>
          </a:p>
          <a:p>
            <a:pPr algn="ctr"/>
            <a:r>
              <a:rPr lang="de-DE" sz="1058" err="1">
                <a:solidFill>
                  <a:srgbClr val="000000"/>
                </a:solidFill>
                <a:latin typeface="Manrope" pitchFamily="2" charset="0"/>
              </a:rPr>
              <a:t>CalVer</a:t>
            </a:r>
            <a:endParaRPr lang="de-DE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67BACAA-7F8D-AE5C-6BE4-E760DF258729}"/>
              </a:ext>
            </a:extLst>
          </p:cNvPr>
          <p:cNvSpPr/>
          <p:nvPr/>
        </p:nvSpPr>
        <p:spPr>
          <a:xfrm>
            <a:off x="7095729" y="2712016"/>
            <a:ext cx="1640132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Tractus-X 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Release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Cal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299B831-B439-F736-4A98-21F3F2437357}"/>
              </a:ext>
            </a:extLst>
          </p:cNvPr>
          <p:cNvSpPr/>
          <p:nvPr/>
        </p:nvSpPr>
        <p:spPr>
          <a:xfrm>
            <a:off x="6588987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KITs</a:t>
            </a: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883AA3C-AE9E-3CC7-2154-FBA798DDBFFF}"/>
              </a:ext>
            </a:extLst>
          </p:cNvPr>
          <p:cNvSpPr/>
          <p:nvPr/>
        </p:nvSpPr>
        <p:spPr>
          <a:xfrm>
            <a:off x="7977055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 err="1">
                <a:solidFill>
                  <a:srgbClr val="000000"/>
                </a:solidFill>
                <a:latin typeface="Manrope" pitchFamily="2" charset="0"/>
              </a:rPr>
              <a:t>Prodcuts</a:t>
            </a:r>
            <a:endParaRPr lang="en-US" sz="1058" b="1">
              <a:solidFill>
                <a:srgbClr val="000000"/>
              </a:solidFill>
              <a:latin typeface="Manrope" pitchFamily="2" charset="0"/>
            </a:endParaRP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583F193-AE83-7A4E-C86E-903526404EEA}"/>
              </a:ext>
            </a:extLst>
          </p:cNvPr>
          <p:cNvSpPr/>
          <p:nvPr/>
        </p:nvSpPr>
        <p:spPr>
          <a:xfrm>
            <a:off x="3384159" y="3947383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Other Normative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 Documents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B77AA3B-706D-1E2B-A5BE-5424F76A194D}"/>
              </a:ext>
            </a:extLst>
          </p:cNvPr>
          <p:cNvSpPr/>
          <p:nvPr/>
        </p:nvSpPr>
        <p:spPr>
          <a:xfrm>
            <a:off x="4809364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Standards</a:t>
            </a: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cxnSp>
        <p:nvCxnSpPr>
          <p:cNvPr id="28" name="Gewinkelte Verbindung 13">
            <a:extLst>
              <a:ext uri="{FF2B5EF4-FFF2-40B4-BE49-F238E27FC236}">
                <a16:creationId xmlns:a16="http://schemas.microsoft.com/office/drawing/2014/main" id="{167F7041-7A6E-C859-EC4F-10194B2705EC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05368" y="3413395"/>
            <a:ext cx="355370" cy="712603"/>
          </a:xfrm>
          <a:prstGeom prst="bentConnector3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3">
            <a:extLst>
              <a:ext uri="{FF2B5EF4-FFF2-40B4-BE49-F238E27FC236}">
                <a16:creationId xmlns:a16="http://schemas.microsoft.com/office/drawing/2014/main" id="{D39D4FAA-E5A0-3E93-96DE-FE5FD39D4C02}"/>
              </a:ext>
            </a:extLst>
          </p:cNvPr>
          <p:cNvCxnSpPr>
            <a:cxnSpLocks/>
          </p:cNvCxnSpPr>
          <p:nvPr/>
        </p:nvCxnSpPr>
        <p:spPr>
          <a:xfrm rot="5400000">
            <a:off x="7389322" y="3423692"/>
            <a:ext cx="353348" cy="69403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winkelte Verbindung 26">
            <a:extLst>
              <a:ext uri="{FF2B5EF4-FFF2-40B4-BE49-F238E27FC236}">
                <a16:creationId xmlns:a16="http://schemas.microsoft.com/office/drawing/2014/main" id="{1FC441CE-C90E-6D3F-5D00-7A2182398BB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083355" y="3423691"/>
            <a:ext cx="353348" cy="69403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 Verbindung 53">
            <a:extLst>
              <a:ext uri="{FF2B5EF4-FFF2-40B4-BE49-F238E27FC236}">
                <a16:creationId xmlns:a16="http://schemas.microsoft.com/office/drawing/2014/main" id="{304A90AD-0FC0-72E9-79F2-FE7D564082EE}"/>
              </a:ext>
            </a:extLst>
          </p:cNvPr>
          <p:cNvCxnSpPr>
            <a:cxnSpLocks/>
          </p:cNvCxnSpPr>
          <p:nvPr/>
        </p:nvCxnSpPr>
        <p:spPr>
          <a:xfrm rot="5400000">
            <a:off x="4192764" y="3413395"/>
            <a:ext cx="355371" cy="7126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BACF1A2-E8E3-E079-5BA4-1863249D0BD1}"/>
              </a:ext>
            </a:extLst>
          </p:cNvPr>
          <p:cNvCxnSpPr/>
          <p:nvPr/>
        </p:nvCxnSpPr>
        <p:spPr>
          <a:xfrm>
            <a:off x="5544034" y="3151003"/>
            <a:ext cx="1551694" cy="2023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6F22A625-5D75-D30A-127F-8D958134358D}"/>
              </a:ext>
            </a:extLst>
          </p:cNvPr>
          <p:cNvSpPr/>
          <p:nvPr/>
        </p:nvSpPr>
        <p:spPr>
          <a:xfrm>
            <a:off x="495279" y="2709992"/>
            <a:ext cx="1634566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Commercial / Self-Developed Solutions 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>
                <a:solidFill>
                  <a:srgbClr val="000000"/>
                </a:solidFill>
                <a:latin typeface="Manrope" pitchFamily="2" charset="0"/>
              </a:rPr>
              <a:t>Own Versioning </a:t>
            </a:r>
            <a:br>
              <a:rPr lang="en-US" sz="1058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>
                <a:solidFill>
                  <a:srgbClr val="000000"/>
                </a:solidFill>
                <a:latin typeface="Manrope" pitchFamily="2" charset="0"/>
              </a:rPr>
              <a:t>Schem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E1F65B84-AAE6-00E1-2391-3BA3D25EA73B}"/>
              </a:ext>
            </a:extLst>
          </p:cNvPr>
          <p:cNvCxnSpPr>
            <a:cxnSpLocks/>
          </p:cNvCxnSpPr>
          <p:nvPr/>
        </p:nvCxnSpPr>
        <p:spPr>
          <a:xfrm flipH="1" flipV="1">
            <a:off x="2129845" y="3151002"/>
            <a:ext cx="1779623" cy="1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63B33C90-A148-0E27-C77A-B349B55F52F2}"/>
              </a:ext>
            </a:extLst>
          </p:cNvPr>
          <p:cNvSpPr txBox="1"/>
          <p:nvPr/>
        </p:nvSpPr>
        <p:spPr>
          <a:xfrm>
            <a:off x="2587743" y="2877882"/>
            <a:ext cx="700833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mplies to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7CE5952-2B57-E850-1BDD-42327F347957}"/>
              </a:ext>
            </a:extLst>
          </p:cNvPr>
          <p:cNvSpPr txBox="1"/>
          <p:nvPr/>
        </p:nvSpPr>
        <p:spPr>
          <a:xfrm>
            <a:off x="5887968" y="2875497"/>
            <a:ext cx="700833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mplies to</a:t>
            </a:r>
          </a:p>
        </p:txBody>
      </p:sp>
      <p:sp>
        <p:nvSpPr>
          <p:cNvPr id="57" name="Abgerundetes Rechteck 1">
            <a:extLst>
              <a:ext uri="{FF2B5EF4-FFF2-40B4-BE49-F238E27FC236}">
                <a16:creationId xmlns:a16="http://schemas.microsoft.com/office/drawing/2014/main" id="{74112198-6936-03B9-B218-00911C089661}"/>
              </a:ext>
            </a:extLst>
          </p:cNvPr>
          <p:cNvSpPr/>
          <p:nvPr/>
        </p:nvSpPr>
        <p:spPr>
          <a:xfrm>
            <a:off x="3909468" y="1741400"/>
            <a:ext cx="4826393" cy="398192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chemeClr val="bg1"/>
                </a:solidFill>
                <a:latin typeface="Manrope" pitchFamily="2" charset="0"/>
              </a:rPr>
              <a:t>Catena-X Association</a:t>
            </a:r>
          </a:p>
        </p:txBody>
      </p:sp>
      <p:cxnSp>
        <p:nvCxnSpPr>
          <p:cNvPr id="59" name="Gewinkelte Verbindung 17">
            <a:extLst>
              <a:ext uri="{FF2B5EF4-FFF2-40B4-BE49-F238E27FC236}">
                <a16:creationId xmlns:a16="http://schemas.microsoft.com/office/drawing/2014/main" id="{55E178D7-F660-8646-CA05-E11321516240}"/>
              </a:ext>
            </a:extLst>
          </p:cNvPr>
          <p:cNvCxnSpPr>
            <a:cxnSpLocks/>
            <a:stCxn id="57" idx="2"/>
            <a:endCxn id="4" idx="0"/>
          </p:cNvCxnSpPr>
          <p:nvPr/>
        </p:nvCxnSpPr>
        <p:spPr>
          <a:xfrm rot="5400000">
            <a:off x="5239508" y="1626837"/>
            <a:ext cx="570401" cy="159591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8">
            <a:extLst>
              <a:ext uri="{FF2B5EF4-FFF2-40B4-BE49-F238E27FC236}">
                <a16:creationId xmlns:a16="http://schemas.microsoft.com/office/drawing/2014/main" id="{F7BC7A17-94F4-3B19-7116-E4D55980CBE9}"/>
              </a:ext>
            </a:extLst>
          </p:cNvPr>
          <p:cNvCxnSpPr>
            <a:cxnSpLocks/>
            <a:stCxn id="57" idx="2"/>
            <a:endCxn id="10" idx="0"/>
          </p:cNvCxnSpPr>
          <p:nvPr/>
        </p:nvCxnSpPr>
        <p:spPr>
          <a:xfrm rot="16200000" flipH="1">
            <a:off x="6833018" y="1629238"/>
            <a:ext cx="572424" cy="159313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D9B6B2C5-EDE7-2CCE-371B-83C1F706EB18}"/>
              </a:ext>
            </a:extLst>
          </p:cNvPr>
          <p:cNvSpPr txBox="1"/>
          <p:nvPr/>
        </p:nvSpPr>
        <p:spPr>
          <a:xfrm>
            <a:off x="6495320" y="2196790"/>
            <a:ext cx="1702710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Sponsors, Promotes &amp; Coordinat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D135485-3949-9F80-0CAD-24935631FEDA}"/>
              </a:ext>
            </a:extLst>
          </p:cNvPr>
          <p:cNvSpPr txBox="1"/>
          <p:nvPr/>
        </p:nvSpPr>
        <p:spPr>
          <a:xfrm>
            <a:off x="5083052" y="2196790"/>
            <a:ext cx="713657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ordinates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485F2F41-825E-3D1F-D7C6-C933FA2C2A56}"/>
              </a:ext>
            </a:extLst>
          </p:cNvPr>
          <p:cNvCxnSpPr>
            <a:cxnSpLocks/>
            <a:stCxn id="25" idx="3"/>
            <a:endCxn id="13" idx="1"/>
          </p:cNvCxnSpPr>
          <p:nvPr/>
        </p:nvCxnSpPr>
        <p:spPr>
          <a:xfrm>
            <a:off x="6069344" y="4307376"/>
            <a:ext cx="519643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48E7A72F-F47D-BD1D-FBAA-10E02F0A18E4}"/>
              </a:ext>
            </a:extLst>
          </p:cNvPr>
          <p:cNvSpPr txBox="1"/>
          <p:nvPr/>
        </p:nvSpPr>
        <p:spPr>
          <a:xfrm>
            <a:off x="6069344" y="3950811"/>
            <a:ext cx="519643" cy="353045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Link </a:t>
            </a:r>
            <a:br>
              <a:rPr lang="en-US" sz="847" i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777988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2C0545-E6C1-5883-FA01-702D642E2C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C1A3343-1850-4C98-5F9A-84B31E361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i="0" u="none" strike="noStrike" dirty="0">
                <a:solidFill>
                  <a:srgbClr val="1F2328"/>
                </a:solidFill>
                <a:effectLst/>
                <a:latin typeface="-apple-system"/>
              </a:rPr>
              <a:t>Support </a:t>
            </a:r>
            <a:r>
              <a:rPr lang="de-DE" b="1" i="0" u="none" strike="noStrike" dirty="0" err="1">
                <a:solidFill>
                  <a:srgbClr val="1F2328"/>
                </a:solidFill>
                <a:effectLst/>
                <a:latin typeface="-apple-system"/>
              </a:rPr>
              <a:t>dates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55E6BD7-4AC1-50DD-824A-3893676A81B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4F183BE-365D-2976-C284-133D08E22F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FAF3F9-DB4A-4795-B69B-3AD29566E077}" type="slidenum">
              <a:rPr lang="de-DE" smtClean="0"/>
              <a:t>4</a:t>
            </a:fld>
            <a:endParaRPr lang="de-DE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1B632E6A-3BFE-CA9F-4BF7-03F442DCB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682891"/>
              </p:ext>
            </p:extLst>
          </p:nvPr>
        </p:nvGraphicFramePr>
        <p:xfrm>
          <a:off x="1824413" y="2923211"/>
          <a:ext cx="8543173" cy="182447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823961">
                  <a:extLst>
                    <a:ext uri="{9D8B030D-6E8A-4147-A177-3AD203B41FA5}">
                      <a16:colId xmlns:a16="http://schemas.microsoft.com/office/drawing/2014/main" val="3289925315"/>
                    </a:ext>
                  </a:extLst>
                </a:gridCol>
                <a:gridCol w="381699">
                  <a:extLst>
                    <a:ext uri="{9D8B030D-6E8A-4147-A177-3AD203B41FA5}">
                      <a16:colId xmlns:a16="http://schemas.microsoft.com/office/drawing/2014/main" val="63608383"/>
                    </a:ext>
                  </a:extLst>
                </a:gridCol>
                <a:gridCol w="383519">
                  <a:extLst>
                    <a:ext uri="{9D8B030D-6E8A-4147-A177-3AD203B41FA5}">
                      <a16:colId xmlns:a16="http://schemas.microsoft.com/office/drawing/2014/main" val="1916098896"/>
                    </a:ext>
                  </a:extLst>
                </a:gridCol>
                <a:gridCol w="383519">
                  <a:extLst>
                    <a:ext uri="{9D8B030D-6E8A-4147-A177-3AD203B41FA5}">
                      <a16:colId xmlns:a16="http://schemas.microsoft.com/office/drawing/2014/main" val="4216315239"/>
                    </a:ext>
                  </a:extLst>
                </a:gridCol>
                <a:gridCol w="383519">
                  <a:extLst>
                    <a:ext uri="{9D8B030D-6E8A-4147-A177-3AD203B41FA5}">
                      <a16:colId xmlns:a16="http://schemas.microsoft.com/office/drawing/2014/main" val="553298783"/>
                    </a:ext>
                  </a:extLst>
                </a:gridCol>
                <a:gridCol w="383519">
                  <a:extLst>
                    <a:ext uri="{9D8B030D-6E8A-4147-A177-3AD203B41FA5}">
                      <a16:colId xmlns:a16="http://schemas.microsoft.com/office/drawing/2014/main" val="2691550178"/>
                    </a:ext>
                  </a:extLst>
                </a:gridCol>
                <a:gridCol w="383519">
                  <a:extLst>
                    <a:ext uri="{9D8B030D-6E8A-4147-A177-3AD203B41FA5}">
                      <a16:colId xmlns:a16="http://schemas.microsoft.com/office/drawing/2014/main" val="1702464053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3906942444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021998663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784684706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2775044806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72830036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3239643211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2037184253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2875698795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471756533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810977216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556967695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023266440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1033144381"/>
                    </a:ext>
                  </a:extLst>
                </a:gridCol>
                <a:gridCol w="387137">
                  <a:extLst>
                    <a:ext uri="{9D8B030D-6E8A-4147-A177-3AD203B41FA5}">
                      <a16:colId xmlns:a16="http://schemas.microsoft.com/office/drawing/2014/main" val="96765482"/>
                    </a:ext>
                  </a:extLst>
                </a:gridCol>
              </a:tblGrid>
              <a:tr h="1824475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838383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5479916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915B9D2-C750-43CD-BC9D-1A203043BAA1}"/>
              </a:ext>
            </a:extLst>
          </p:cNvPr>
          <p:cNvSpPr/>
          <p:nvPr/>
        </p:nvSpPr>
        <p:spPr bwMode="gray">
          <a:xfrm>
            <a:off x="1824413" y="2983722"/>
            <a:ext cx="635010" cy="220607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chemeClr val="bg1"/>
                </a:solidFill>
                <a:latin typeface="+mj-lt"/>
              </a:rPr>
              <a:t>Nex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B39C2FC-8986-5614-083F-2C183E255734}"/>
              </a:ext>
            </a:extLst>
          </p:cNvPr>
          <p:cNvSpPr txBox="1"/>
          <p:nvPr/>
        </p:nvSpPr>
        <p:spPr bwMode="gray">
          <a:xfrm>
            <a:off x="4148106" y="-50261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Wingdings 2" panose="05020102010507070707" pitchFamily="18" charset="2"/>
              <a:buChar char=""/>
            </a:pPr>
            <a:endParaRPr lang="de-DE" sz="1400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E4C0DCBE-81C5-B6BA-5281-AD1482E5A089}"/>
              </a:ext>
            </a:extLst>
          </p:cNvPr>
          <p:cNvGrpSpPr/>
          <p:nvPr/>
        </p:nvGrpSpPr>
        <p:grpSpPr>
          <a:xfrm>
            <a:off x="1824413" y="3492888"/>
            <a:ext cx="635010" cy="1102310"/>
            <a:chOff x="1308847" y="4165892"/>
            <a:chExt cx="635010" cy="110231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0630E50-BECA-6B9A-EB94-20062D6AD0FE}"/>
                </a:ext>
              </a:extLst>
            </p:cNvPr>
            <p:cNvSpPr/>
            <p:nvPr/>
          </p:nvSpPr>
          <p:spPr bwMode="gray">
            <a:xfrm>
              <a:off x="1308847" y="4165892"/>
              <a:ext cx="635010" cy="2196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600" dirty="0">
                  <a:solidFill>
                    <a:schemeClr val="bg1"/>
                  </a:solidFill>
                  <a:latin typeface="+mj-lt"/>
                </a:rPr>
                <a:t>24.03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968CB8F2-B6F5-F642-85F5-44536065A4D0}"/>
                </a:ext>
              </a:extLst>
            </p:cNvPr>
            <p:cNvSpPr/>
            <p:nvPr/>
          </p:nvSpPr>
          <p:spPr bwMode="gray">
            <a:xfrm>
              <a:off x="1308847" y="4460129"/>
              <a:ext cx="635010" cy="2196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600" dirty="0">
                  <a:solidFill>
                    <a:schemeClr val="bg1"/>
                  </a:solidFill>
                  <a:latin typeface="+mj-lt"/>
                </a:rPr>
                <a:t>CX-Jupiter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4ACD42F-B1BF-2EA6-5A27-492B5AC85622}"/>
                </a:ext>
              </a:extLst>
            </p:cNvPr>
            <p:cNvSpPr/>
            <p:nvPr/>
          </p:nvSpPr>
          <p:spPr bwMode="gray">
            <a:xfrm>
              <a:off x="1308847" y="4754366"/>
              <a:ext cx="635010" cy="2196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600" dirty="0">
                  <a:solidFill>
                    <a:schemeClr val="bg1"/>
                  </a:solidFill>
                  <a:latin typeface="+mj-lt"/>
                </a:rPr>
                <a:t>CX-Saturn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4FFE8FF1-0F17-F907-31DD-6DBAA66B82C5}"/>
                </a:ext>
              </a:extLst>
            </p:cNvPr>
            <p:cNvSpPr/>
            <p:nvPr/>
          </p:nvSpPr>
          <p:spPr bwMode="gray">
            <a:xfrm>
              <a:off x="1308847" y="5048602"/>
              <a:ext cx="635010" cy="219600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600" dirty="0">
                  <a:solidFill>
                    <a:schemeClr val="bg1"/>
                  </a:solidFill>
                  <a:latin typeface="+mj-lt"/>
                </a:rPr>
                <a:t>CX-Neptune</a:t>
              </a:r>
            </a:p>
          </p:txBody>
        </p:sp>
      </p:grp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78E9741-09D5-EC8D-D293-37E0722792C3}"/>
              </a:ext>
            </a:extLst>
          </p:cNvPr>
          <p:cNvCxnSpPr>
            <a:cxnSpLocks/>
          </p:cNvCxnSpPr>
          <p:nvPr/>
        </p:nvCxnSpPr>
        <p:spPr bwMode="gray">
          <a:xfrm>
            <a:off x="1824413" y="3343344"/>
            <a:ext cx="6959625" cy="0"/>
          </a:xfrm>
          <a:prstGeom prst="line">
            <a:avLst/>
          </a:prstGeom>
          <a:ln w="12700" cmpd="dbl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ADC9F724-3F9A-133F-03D3-DF72F7B28193}"/>
              </a:ext>
            </a:extLst>
          </p:cNvPr>
          <p:cNvSpPr/>
          <p:nvPr/>
        </p:nvSpPr>
        <p:spPr bwMode="gray">
          <a:xfrm>
            <a:off x="2639930" y="2983722"/>
            <a:ext cx="6956883" cy="219600"/>
          </a:xfrm>
          <a:prstGeom prst="rect">
            <a:avLst/>
          </a:prstGeom>
          <a:solidFill>
            <a:srgbClr val="FFEECC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04040"/>
                </a:solidFill>
                <a:latin typeface="+mj-lt"/>
              </a:rPr>
              <a:t>Next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A2129DB9-DBCD-5580-5B01-0B57DBD59C11}"/>
              </a:ext>
            </a:extLst>
          </p:cNvPr>
          <p:cNvSpPr txBox="1"/>
          <p:nvPr/>
        </p:nvSpPr>
        <p:spPr bwMode="gray">
          <a:xfrm>
            <a:off x="2534933" y="2758385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1/24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214B8CF-2006-6330-0755-684536B1416B}"/>
              </a:ext>
            </a:extLst>
          </p:cNvPr>
          <p:cNvSpPr txBox="1"/>
          <p:nvPr/>
        </p:nvSpPr>
        <p:spPr bwMode="gray">
          <a:xfrm>
            <a:off x="2921001" y="2760344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2/24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F350B46-E5DB-843D-1252-35B5A978F47E}"/>
              </a:ext>
            </a:extLst>
          </p:cNvPr>
          <p:cNvSpPr txBox="1"/>
          <p:nvPr/>
        </p:nvSpPr>
        <p:spPr bwMode="gray">
          <a:xfrm>
            <a:off x="3307069" y="2762303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3/24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8F4542B-66B3-8FD8-4B5E-25BC37E3A6F9}"/>
              </a:ext>
            </a:extLst>
          </p:cNvPr>
          <p:cNvSpPr txBox="1"/>
          <p:nvPr/>
        </p:nvSpPr>
        <p:spPr bwMode="gray">
          <a:xfrm>
            <a:off x="3693137" y="2764262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4/24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A451870-60A1-8C29-6F45-AA9C9281CC1B}"/>
              </a:ext>
            </a:extLst>
          </p:cNvPr>
          <p:cNvSpPr txBox="1"/>
          <p:nvPr/>
        </p:nvSpPr>
        <p:spPr bwMode="gray">
          <a:xfrm>
            <a:off x="4079205" y="2766221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1/25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1D6D84-0D9C-920A-5C7A-E008E0FE8A47}"/>
              </a:ext>
            </a:extLst>
          </p:cNvPr>
          <p:cNvSpPr txBox="1"/>
          <p:nvPr/>
        </p:nvSpPr>
        <p:spPr bwMode="gray">
          <a:xfrm>
            <a:off x="4465273" y="2768180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2/25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DF3E4F2-F937-AD60-FA93-F36B8101F3B1}"/>
              </a:ext>
            </a:extLst>
          </p:cNvPr>
          <p:cNvSpPr txBox="1"/>
          <p:nvPr/>
        </p:nvSpPr>
        <p:spPr bwMode="gray">
          <a:xfrm>
            <a:off x="4851341" y="2770139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3/25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C80F0DEE-38BB-8DEF-40D3-5791855F4DFA}"/>
              </a:ext>
            </a:extLst>
          </p:cNvPr>
          <p:cNvSpPr txBox="1"/>
          <p:nvPr/>
        </p:nvSpPr>
        <p:spPr bwMode="gray">
          <a:xfrm>
            <a:off x="5237409" y="2772098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4/25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6D78254A-76B9-4378-94AA-0437279A7796}"/>
              </a:ext>
            </a:extLst>
          </p:cNvPr>
          <p:cNvSpPr txBox="1"/>
          <p:nvPr/>
        </p:nvSpPr>
        <p:spPr bwMode="gray">
          <a:xfrm>
            <a:off x="5623477" y="2776016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1/26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EBEFDF10-1F75-334C-F12E-89750A2E4C42}"/>
              </a:ext>
            </a:extLst>
          </p:cNvPr>
          <p:cNvSpPr txBox="1"/>
          <p:nvPr/>
        </p:nvSpPr>
        <p:spPr bwMode="gray">
          <a:xfrm>
            <a:off x="6009545" y="2781893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2/26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F7E895A-D34D-A6DE-4FB5-5A6431FFB472}"/>
              </a:ext>
            </a:extLst>
          </p:cNvPr>
          <p:cNvSpPr txBox="1"/>
          <p:nvPr/>
        </p:nvSpPr>
        <p:spPr bwMode="gray">
          <a:xfrm>
            <a:off x="6395613" y="2779934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3/26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6D8EC9C-391A-8AA9-3CC9-A815B1BD2EE1}"/>
              </a:ext>
            </a:extLst>
          </p:cNvPr>
          <p:cNvSpPr txBox="1"/>
          <p:nvPr/>
        </p:nvSpPr>
        <p:spPr bwMode="gray">
          <a:xfrm>
            <a:off x="6781681" y="2777975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4/26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49E68F1B-B96D-55A4-ED15-1A25691EBCFF}"/>
              </a:ext>
            </a:extLst>
          </p:cNvPr>
          <p:cNvSpPr txBox="1"/>
          <p:nvPr/>
        </p:nvSpPr>
        <p:spPr bwMode="gray">
          <a:xfrm>
            <a:off x="7167749" y="2774057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1/27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1AE58DC-CC88-C2E5-109B-7B4D9D6143B1}"/>
              </a:ext>
            </a:extLst>
          </p:cNvPr>
          <p:cNvSpPr txBox="1"/>
          <p:nvPr/>
        </p:nvSpPr>
        <p:spPr bwMode="gray">
          <a:xfrm>
            <a:off x="7553817" y="2783852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2/27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8EF9002F-56F6-159D-82A5-351164ADFE5D}"/>
              </a:ext>
            </a:extLst>
          </p:cNvPr>
          <p:cNvSpPr txBox="1"/>
          <p:nvPr/>
        </p:nvSpPr>
        <p:spPr bwMode="gray">
          <a:xfrm>
            <a:off x="7939885" y="2787770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3/27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9F8E0A78-8423-DBDC-9A79-F7C73E4F355F}"/>
              </a:ext>
            </a:extLst>
          </p:cNvPr>
          <p:cNvSpPr txBox="1"/>
          <p:nvPr/>
        </p:nvSpPr>
        <p:spPr bwMode="gray">
          <a:xfrm>
            <a:off x="8325953" y="2789729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4/27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F545099F-2B6C-2A0E-9FA2-D03BC70B1027}"/>
              </a:ext>
            </a:extLst>
          </p:cNvPr>
          <p:cNvSpPr txBox="1"/>
          <p:nvPr/>
        </p:nvSpPr>
        <p:spPr bwMode="gray">
          <a:xfrm>
            <a:off x="8712021" y="2785811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1/28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3AD5C1E1-4D34-87E5-73B4-02B317796A03}"/>
              </a:ext>
            </a:extLst>
          </p:cNvPr>
          <p:cNvSpPr txBox="1"/>
          <p:nvPr/>
        </p:nvSpPr>
        <p:spPr bwMode="gray">
          <a:xfrm>
            <a:off x="9098089" y="2793639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2/28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8CF1265D-0950-006E-C3D5-D0CBBFCFAD2D}"/>
              </a:ext>
            </a:extLst>
          </p:cNvPr>
          <p:cNvSpPr txBox="1"/>
          <p:nvPr/>
        </p:nvSpPr>
        <p:spPr bwMode="gray">
          <a:xfrm>
            <a:off x="9942943" y="2793555"/>
            <a:ext cx="76944" cy="936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…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3713970-5938-1E31-6D1A-CD0A5E441BE0}"/>
              </a:ext>
            </a:extLst>
          </p:cNvPr>
          <p:cNvSpPr/>
          <p:nvPr/>
        </p:nvSpPr>
        <p:spPr bwMode="gray">
          <a:xfrm>
            <a:off x="2959614" y="3533368"/>
            <a:ext cx="556041" cy="220607"/>
          </a:xfrm>
          <a:prstGeom prst="rect">
            <a:avLst/>
          </a:prstGeom>
          <a:solidFill>
            <a:srgbClr val="B3CC2D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 err="1">
                <a:solidFill>
                  <a:srgbClr val="4A4A4A"/>
                </a:solidFill>
                <a:latin typeface="+mj-lt"/>
              </a:rPr>
              <a:t>Current</a:t>
            </a:r>
            <a:endParaRPr lang="de-DE" sz="600" dirty="0">
              <a:solidFill>
                <a:srgbClr val="4A4A4A"/>
              </a:solidFill>
              <a:latin typeface="+mj-lt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CBA35D8-C6D8-0D76-2729-1D17572AAA87}"/>
              </a:ext>
            </a:extLst>
          </p:cNvPr>
          <p:cNvSpPr/>
          <p:nvPr/>
        </p:nvSpPr>
        <p:spPr bwMode="gray">
          <a:xfrm>
            <a:off x="3130995" y="3789549"/>
            <a:ext cx="384660" cy="2206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A4A4A"/>
                </a:solidFill>
                <a:latin typeface="+mj-lt"/>
              </a:rPr>
              <a:t>Preview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92155F0-964F-E70B-FAD9-5D35A3340775}"/>
              </a:ext>
            </a:extLst>
          </p:cNvPr>
          <p:cNvSpPr/>
          <p:nvPr/>
        </p:nvSpPr>
        <p:spPr bwMode="gray">
          <a:xfrm>
            <a:off x="3536627" y="3789549"/>
            <a:ext cx="1560946" cy="220607"/>
          </a:xfrm>
          <a:prstGeom prst="rect">
            <a:avLst/>
          </a:prstGeom>
          <a:solidFill>
            <a:srgbClr val="B3CC2D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 err="1">
                <a:solidFill>
                  <a:srgbClr val="4A4A4A"/>
                </a:solidFill>
                <a:latin typeface="+mj-lt"/>
              </a:rPr>
              <a:t>Current</a:t>
            </a:r>
            <a:r>
              <a:rPr lang="de-DE" sz="600" dirty="0">
                <a:solidFill>
                  <a:srgbClr val="4A4A4A"/>
                </a:solidFill>
                <a:latin typeface="+mj-lt"/>
              </a:rPr>
              <a:t> 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0F8763E6-64C0-264D-6554-1BDBE0DCD032}"/>
              </a:ext>
            </a:extLst>
          </p:cNvPr>
          <p:cNvSpPr/>
          <p:nvPr/>
        </p:nvSpPr>
        <p:spPr bwMode="gray">
          <a:xfrm>
            <a:off x="5116060" y="3786718"/>
            <a:ext cx="1560946" cy="220607"/>
          </a:xfrm>
          <a:prstGeom prst="rect">
            <a:avLst/>
          </a:prstGeom>
          <a:solidFill>
            <a:srgbClr val="D3E27E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A4A4A"/>
                </a:solidFill>
                <a:latin typeface="+mj-lt"/>
              </a:rPr>
              <a:t>Maintenance 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932021-8EE4-F496-7050-219E738B8740}"/>
              </a:ext>
            </a:extLst>
          </p:cNvPr>
          <p:cNvSpPr/>
          <p:nvPr/>
        </p:nvSpPr>
        <p:spPr bwMode="gray">
          <a:xfrm>
            <a:off x="4712913" y="4075309"/>
            <a:ext cx="384660" cy="2206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A4A4A"/>
                </a:solidFill>
                <a:latin typeface="+mj-lt"/>
              </a:rPr>
              <a:t>Preview</a:t>
            </a:r>
          </a:p>
        </p:txBody>
      </p:sp>
      <p:sp>
        <p:nvSpPr>
          <p:cNvPr id="2" name="Raute 1">
            <a:extLst>
              <a:ext uri="{FF2B5EF4-FFF2-40B4-BE49-F238E27FC236}">
                <a16:creationId xmlns:a16="http://schemas.microsoft.com/office/drawing/2014/main" id="{4C5673EB-9A19-5806-0E27-85050B840062}"/>
              </a:ext>
            </a:extLst>
          </p:cNvPr>
          <p:cNvSpPr/>
          <p:nvPr/>
        </p:nvSpPr>
        <p:spPr bwMode="gray">
          <a:xfrm>
            <a:off x="6600237" y="3819585"/>
            <a:ext cx="147946" cy="154680"/>
          </a:xfrm>
          <a:prstGeom prst="diamond">
            <a:avLst/>
          </a:prstGeom>
          <a:solidFill>
            <a:srgbClr val="404040"/>
          </a:solidFill>
          <a:ln>
            <a:noFill/>
          </a:ln>
        </p:spPr>
        <p:txBody>
          <a:bodyPr lIns="216000" tIns="180000" rIns="216000" bIns="180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de-DE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3D1011-0822-0439-DB9E-C26AA5C0C532}"/>
              </a:ext>
            </a:extLst>
          </p:cNvPr>
          <p:cNvSpPr/>
          <p:nvPr/>
        </p:nvSpPr>
        <p:spPr bwMode="gray">
          <a:xfrm>
            <a:off x="5116060" y="4075309"/>
            <a:ext cx="1560946" cy="220607"/>
          </a:xfrm>
          <a:prstGeom prst="rect">
            <a:avLst/>
          </a:prstGeom>
          <a:solidFill>
            <a:srgbClr val="B3CC2D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 err="1">
                <a:solidFill>
                  <a:srgbClr val="4A4A4A"/>
                </a:solidFill>
                <a:latin typeface="+mj-lt"/>
              </a:rPr>
              <a:t>Current</a:t>
            </a:r>
            <a:r>
              <a:rPr lang="de-DE" sz="600" dirty="0">
                <a:solidFill>
                  <a:srgbClr val="4A4A4A"/>
                </a:solidFill>
                <a:latin typeface="+mj-lt"/>
              </a:rPr>
              <a:t>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7B5D94A-CA0D-0D13-CBBD-9CD72692BEA0}"/>
              </a:ext>
            </a:extLst>
          </p:cNvPr>
          <p:cNvSpPr/>
          <p:nvPr/>
        </p:nvSpPr>
        <p:spPr bwMode="gray">
          <a:xfrm>
            <a:off x="6695493" y="4075308"/>
            <a:ext cx="1560946" cy="220607"/>
          </a:xfrm>
          <a:prstGeom prst="rect">
            <a:avLst/>
          </a:prstGeom>
          <a:solidFill>
            <a:srgbClr val="D3E27E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A4A4A"/>
                </a:solidFill>
                <a:latin typeface="+mj-lt"/>
              </a:rPr>
              <a:t>Maintenance </a:t>
            </a:r>
          </a:p>
        </p:txBody>
      </p:sp>
      <p:sp>
        <p:nvSpPr>
          <p:cNvPr id="19" name="Raute 18">
            <a:extLst>
              <a:ext uri="{FF2B5EF4-FFF2-40B4-BE49-F238E27FC236}">
                <a16:creationId xmlns:a16="http://schemas.microsoft.com/office/drawing/2014/main" id="{8E409C35-73F6-1E3F-BA35-51CD25F71830}"/>
              </a:ext>
            </a:extLst>
          </p:cNvPr>
          <p:cNvSpPr/>
          <p:nvPr/>
        </p:nvSpPr>
        <p:spPr bwMode="gray">
          <a:xfrm>
            <a:off x="8179670" y="4108271"/>
            <a:ext cx="147946" cy="154680"/>
          </a:xfrm>
          <a:prstGeom prst="diamond">
            <a:avLst/>
          </a:prstGeom>
          <a:solidFill>
            <a:srgbClr val="404040"/>
          </a:solidFill>
          <a:ln>
            <a:noFill/>
          </a:ln>
        </p:spPr>
        <p:txBody>
          <a:bodyPr lIns="216000" tIns="180000" rIns="216000" bIns="180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de-DE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7D6E2C0-F795-381C-D699-436AA68E6291}"/>
              </a:ext>
            </a:extLst>
          </p:cNvPr>
          <p:cNvSpPr/>
          <p:nvPr/>
        </p:nvSpPr>
        <p:spPr bwMode="gray">
          <a:xfrm>
            <a:off x="6695493" y="4374591"/>
            <a:ext cx="1560946" cy="220607"/>
          </a:xfrm>
          <a:prstGeom prst="rect">
            <a:avLst/>
          </a:prstGeom>
          <a:solidFill>
            <a:srgbClr val="B3CC2D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 err="1">
                <a:solidFill>
                  <a:srgbClr val="4A4A4A"/>
                </a:solidFill>
                <a:latin typeface="+mj-lt"/>
              </a:rPr>
              <a:t>Current</a:t>
            </a:r>
            <a:r>
              <a:rPr lang="de-DE" sz="600" dirty="0">
                <a:solidFill>
                  <a:srgbClr val="4A4A4A"/>
                </a:solidFill>
                <a:latin typeface="+mj-lt"/>
              </a:rPr>
              <a:t> 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9014215-4372-1E9C-0CF5-037E97ADDFF3}"/>
              </a:ext>
            </a:extLst>
          </p:cNvPr>
          <p:cNvSpPr/>
          <p:nvPr/>
        </p:nvSpPr>
        <p:spPr bwMode="gray">
          <a:xfrm>
            <a:off x="8277722" y="4376598"/>
            <a:ext cx="1560946" cy="220607"/>
          </a:xfrm>
          <a:prstGeom prst="rect">
            <a:avLst/>
          </a:prstGeom>
          <a:solidFill>
            <a:srgbClr val="D3E27E"/>
          </a:solidFill>
          <a:ln w="3175">
            <a:solidFill>
              <a:schemeClr val="bg1">
                <a:lumMod val="50000"/>
              </a:schemeClr>
            </a:solidFill>
          </a:ln>
        </p:spPr>
        <p:txBody>
          <a:bodyPr lIns="0" tIns="0" rIns="0" bIns="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dirty="0">
                <a:solidFill>
                  <a:srgbClr val="4A4A4A"/>
                </a:solidFill>
                <a:latin typeface="+mj-lt"/>
              </a:rPr>
              <a:t>Maintenance 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BAD45B73-9184-62D1-D14A-13762FB90BD3}"/>
              </a:ext>
            </a:extLst>
          </p:cNvPr>
          <p:cNvSpPr txBox="1"/>
          <p:nvPr/>
        </p:nvSpPr>
        <p:spPr bwMode="gray">
          <a:xfrm>
            <a:off x="9484157" y="2791688"/>
            <a:ext cx="209994" cy="936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r>
              <a:rPr lang="de-DE" sz="600" dirty="0">
                <a:solidFill>
                  <a:srgbClr val="595959"/>
                </a:solidFill>
              </a:rPr>
              <a:t>Q3/28</a:t>
            </a:r>
          </a:p>
        </p:txBody>
      </p:sp>
      <p:sp>
        <p:nvSpPr>
          <p:cNvPr id="59" name="Raute 58">
            <a:extLst>
              <a:ext uri="{FF2B5EF4-FFF2-40B4-BE49-F238E27FC236}">
                <a16:creationId xmlns:a16="http://schemas.microsoft.com/office/drawing/2014/main" id="{AA358B77-6A68-63F1-0DC0-797155A123CA}"/>
              </a:ext>
            </a:extLst>
          </p:cNvPr>
          <p:cNvSpPr/>
          <p:nvPr/>
        </p:nvSpPr>
        <p:spPr bwMode="gray">
          <a:xfrm>
            <a:off x="9764695" y="4407554"/>
            <a:ext cx="147946" cy="154680"/>
          </a:xfrm>
          <a:prstGeom prst="diamond">
            <a:avLst/>
          </a:prstGeom>
          <a:solidFill>
            <a:srgbClr val="404040"/>
          </a:solidFill>
          <a:ln>
            <a:noFill/>
          </a:ln>
        </p:spPr>
        <p:txBody>
          <a:bodyPr lIns="216000" tIns="180000" rIns="216000" bIns="180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de-DE" sz="14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9206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34B7A753-1B7B-4443-9A47-9B0F4ADB02DC}" vid="{FF05F419-5A3C-4672-B8CB-96B5C896E413}"/>
    </a:ext>
  </a:extLst>
</a:theme>
</file>

<file path=ppt/theme/theme2.xml><?xml version="1.0" encoding="utf-8"?>
<a:theme xmlns:a="http://schemas.openxmlformats.org/drawingml/2006/main" name="Catena-X">
  <a:themeElements>
    <a:clrScheme name="Benutzerdefiniert 1">
      <a:dk1>
        <a:sysClr val="windowText" lastClr="000000"/>
      </a:dk1>
      <a:lt1>
        <a:sysClr val="window" lastClr="FFFFFF"/>
      </a:lt1>
      <a:dk2>
        <a:srgbClr val="B3CB2D"/>
      </a:dk2>
      <a:lt2>
        <a:srgbClr val="FFA600"/>
      </a:lt2>
      <a:accent1>
        <a:srgbClr val="1C6445"/>
      </a:accent1>
      <a:accent2>
        <a:srgbClr val="CFF297"/>
      </a:accent2>
      <a:accent3>
        <a:srgbClr val="4E946A"/>
      </a:accent3>
      <a:accent4>
        <a:srgbClr val="0634B3"/>
      </a:accent4>
      <a:accent5>
        <a:srgbClr val="BDE3F5"/>
      </a:accent5>
      <a:accent6>
        <a:srgbClr val="679FF2"/>
      </a:accent6>
      <a:hlink>
        <a:srgbClr val="FFA600"/>
      </a:hlink>
      <a:folHlink>
        <a:srgbClr val="FFA6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F6F6F6"/>
        </a:solidFill>
        <a:ln>
          <a:noFill/>
        </a:ln>
      </a:spPr>
      <a:bodyPr lIns="216000" tIns="180000" rIns="216000" bIns="180000" anchor="t"/>
      <a:lstStyle>
        <a:defPPr algn="l">
          <a:lnSpc>
            <a:spcPct val="110000"/>
          </a:lnSpc>
          <a:spcBef>
            <a:spcPts val="600"/>
          </a:spcBef>
          <a:spcAft>
            <a:spcPts val="600"/>
          </a:spcAft>
          <a:defRPr sz="1400" dirty="0">
            <a:solidFill>
              <a:schemeClr val="tx1"/>
            </a:solidFill>
            <a:latin typeface="+mj-lt"/>
          </a:defRPr>
        </a:defPPr>
      </a:lstStyle>
    </a:spDef>
    <a:lnDef>
      <a:spPr bwMode="gray">
        <a:ln w="254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bg2"/>
          </a:buClr>
          <a:buFont typeface="Wingdings 2" panose="05020102010507070707" pitchFamily="18" charset="2"/>
          <a:buChar char=""/>
          <a:defRPr sz="1400" dirty="0"/>
        </a:defPPr>
      </a:lstStyle>
    </a:txDef>
  </a:objectDefaults>
  <a:extraClrSchemeLst/>
  <a:custClrLst>
    <a:custClr name="Orange extra dark 100%">
      <a:srgbClr val="B42C18"/>
    </a:custClr>
    <a:custClr name="Orange dark 100%">
      <a:srgbClr val="E94E24"/>
    </a:custClr>
    <a:custClr name="Orange light 100%">
      <a:srgbClr val="FCD2A4"/>
    </a:custClr>
    <a:custClr name="Orange light 10%">
      <a:srgbClr val="FFF6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extra dark 100%">
      <a:srgbClr val="0634B3"/>
    </a:custClr>
    <a:custClr name="Blue dark 100%">
      <a:srgbClr val="679FF2"/>
    </a:custClr>
    <a:custClr name="Blue light 100%">
      <a:srgbClr val="BDE3F5"/>
    </a:custClr>
    <a:custClr name="Blue light 10%">
      <a:srgbClr val="F3FAF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en extra dark 100%">
      <a:srgbClr val="1C6445"/>
    </a:custClr>
    <a:custClr name="Green dark 100%">
      <a:srgbClr val="4E946A"/>
    </a:custClr>
    <a:custClr name="Green light 100%">
      <a:srgbClr val="CFF297"/>
    </a:custClr>
    <a:custClr name="Green light 10%">
      <a:srgbClr val="F5FCE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ack 100%">
      <a:srgbClr val="000000"/>
    </a:custClr>
    <a:custClr name="Grey 4">
      <a:srgbClr val="4A4A4A"/>
    </a:custClr>
    <a:custClr name="Grey 3">
      <a:srgbClr val="878787"/>
    </a:custClr>
    <a:custClr name="Grey 2">
      <a:srgbClr val="C6C6C6"/>
    </a:custClr>
    <a:custClr name="Grey 1">
      <a:srgbClr val="F6F6F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dark">
      <a:srgbClr val="2E2D2C"/>
    </a:custClr>
  </a:custClrLst>
  <a:extLst>
    <a:ext uri="{05A4C25C-085E-4340-85A3-A5531E510DB2}">
      <thm15:themeFamily xmlns:thm15="http://schemas.microsoft.com/office/thememl/2012/main" name="K16_Catena-X_PowerPoint-Vorlage_V01_2.potx" id="{40A99328-39F5-4AA9-B555-F9E871964110}" vid="{7632B136-B79B-4872-95E6-2C881A596865}"/>
    </a:ext>
  </a:extLst>
</a:theme>
</file>

<file path=ppt/theme/theme3.xml><?xml version="1.0" encoding="utf-8"?>
<a:theme xmlns:a="http://schemas.openxmlformats.org/drawingml/2006/main" name="1_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CatenaX_01.potx" id="{A1B71CD3-2BE3-44B1-9179-077551C208AF}" vid="{D6F3E7C7-9B69-49BA-A246-51887D7E43F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B6932D3EDDA8143B32FA8AD5C5501B9" ma:contentTypeVersion="14" ma:contentTypeDescription="Ein neues Dokument erstellen." ma:contentTypeScope="" ma:versionID="4a2933e5f8cd0b05e359eac3e009eb3e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88aac2391431c834e73eaa12585e3a5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67b8054-3481-4999-9b89-5a9a3729820c" xsi:nil="true"/>
    <lcf76f155ced4ddcb4097134ff3c332f xmlns="e173213b-d6e6-4077-93de-fac7afb8733c">
      <Terms xmlns="http://schemas.microsoft.com/office/infopath/2007/PartnerControls"/>
    </lcf76f155ced4ddcb4097134ff3c332f>
    <MediaLengthInSeconds xmlns="e173213b-d6e6-4077-93de-fac7afb8733c" xsi:nil="true"/>
    <SharedWithUsers xmlns="067b8054-3481-4999-9b89-5a9a3729820c">
      <UserInfo>
        <DisplayName>Daniel Miehle</DisplayName>
        <AccountId>13</AccountId>
        <AccountType/>
      </UserInfo>
    </SharedWithUsers>
  </documentManagement>
</p:properties>
</file>

<file path=customXml/item4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FBB1516D-752B-4B24-8314-FED0C12C85A4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027deb37-e76e-46bf-94fa-b346e58c089c"/>
    <ds:schemaRef ds:uri="067b8054-3481-4999-9b89-5a9a3729820c"/>
    <ds:schemaRef ds:uri="793ae8ff-6dbf-4228-a0e6-f6d7e4c4b580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1534924-EF19-43B7-9E5E-0CF30E658C4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3</Words>
  <Application>Microsoft Macintosh PowerPoint</Application>
  <PresentationFormat>Breitbild</PresentationFormat>
  <Paragraphs>126</Paragraphs>
  <Slides>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9" baseType="lpstr">
      <vt:lpstr>-apple-system</vt:lpstr>
      <vt:lpstr>Arial</vt:lpstr>
      <vt:lpstr>BMWGroupTN Condensed</vt:lpstr>
      <vt:lpstr>Calibri</vt:lpstr>
      <vt:lpstr>Georgia</vt:lpstr>
      <vt:lpstr>Helvetica</vt:lpstr>
      <vt:lpstr>Manrope</vt:lpstr>
      <vt:lpstr>Manrope Light</vt:lpstr>
      <vt:lpstr>Segoe UI</vt:lpstr>
      <vt:lpstr>Wingdings</vt:lpstr>
      <vt:lpstr>Wingdings 2</vt:lpstr>
      <vt:lpstr>Contrast</vt:lpstr>
      <vt:lpstr>Catena-X</vt:lpstr>
      <vt:lpstr>1_Catana-X PowerPoint Master</vt:lpstr>
      <vt:lpstr>think-cell Slide</vt:lpstr>
      <vt:lpstr>How do the different levels work together? </vt:lpstr>
      <vt:lpstr>Life Cycle Management – Impact of Breaking*-Changes</vt:lpstr>
      <vt:lpstr>Versioning</vt:lpstr>
      <vt:lpstr>Support da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kus: Fraunhofer Kooperation.</dc:title>
  <dc:creator>Anika</dc:creator>
  <cp:lastModifiedBy>Theresa Hilger</cp:lastModifiedBy>
  <cp:revision>35</cp:revision>
  <cp:lastPrinted>2023-02-20T07:18:22Z</cp:lastPrinted>
  <dcterms:created xsi:type="dcterms:W3CDTF">2022-05-09T07:37:59Z</dcterms:created>
  <dcterms:modified xsi:type="dcterms:W3CDTF">2024-10-10T11:1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932D3EDDA8143B32FA8AD5C5501B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MSIP_Label_7294a1c8-9899-41e7-8f6e-8b1b3c79592a_Enabled">
    <vt:lpwstr>true</vt:lpwstr>
  </property>
  <property fmtid="{D5CDD505-2E9C-101B-9397-08002B2CF9AE}" pid="19" name="MSIP_Label_7294a1c8-9899-41e7-8f6e-8b1b3c79592a_SetDate">
    <vt:lpwstr>2024-06-06T20:33:42Z</vt:lpwstr>
  </property>
  <property fmtid="{D5CDD505-2E9C-101B-9397-08002B2CF9AE}" pid="20" name="MSIP_Label_7294a1c8-9899-41e7-8f6e-8b1b3c79592a_Method">
    <vt:lpwstr>Privileged</vt:lpwstr>
  </property>
  <property fmtid="{D5CDD505-2E9C-101B-9397-08002B2CF9AE}" pid="21" name="MSIP_Label_7294a1c8-9899-41e7-8f6e-8b1b3c79592a_Name">
    <vt:lpwstr>Internal sub2 (no marking)</vt:lpwstr>
  </property>
  <property fmtid="{D5CDD505-2E9C-101B-9397-08002B2CF9AE}" pid="22" name="MSIP_Label_7294a1c8-9899-41e7-8f6e-8b1b3c79592a_SiteId">
    <vt:lpwstr>eb70b763-b6d7-4486-8555-8831709a784e</vt:lpwstr>
  </property>
  <property fmtid="{D5CDD505-2E9C-101B-9397-08002B2CF9AE}" pid="23" name="MSIP_Label_7294a1c8-9899-41e7-8f6e-8b1b3c79592a_ActionId">
    <vt:lpwstr>a5df4164-2e16-4dbc-b6f3-cac6c1e66c81</vt:lpwstr>
  </property>
  <property fmtid="{D5CDD505-2E9C-101B-9397-08002B2CF9AE}" pid="24" name="MSIP_Label_7294a1c8-9899-41e7-8f6e-8b1b3c79592a_ContentBits">
    <vt:lpwstr>0</vt:lpwstr>
  </property>
</Properties>
</file>